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7.xml" ContentType="application/vnd.openxmlformats-officedocument.them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710" r:id="rId3"/>
    <p:sldMasterId id="2147483735" r:id="rId4"/>
    <p:sldMasterId id="2147483760" r:id="rId5"/>
    <p:sldMasterId id="2147483785" r:id="rId6"/>
    <p:sldMasterId id="2147483811" r:id="rId7"/>
    <p:sldMasterId id="2147483833" r:id="rId8"/>
    <p:sldMasterId id="2147483857" r:id="rId9"/>
  </p:sldMasterIdLst>
  <p:notesMasterIdLst>
    <p:notesMasterId r:id="rId23"/>
  </p:notesMasterIdLst>
  <p:sldIdLst>
    <p:sldId id="2147196904" r:id="rId10"/>
    <p:sldId id="2147196941" r:id="rId11"/>
    <p:sldId id="2147197056" r:id="rId12"/>
    <p:sldId id="2147197055" r:id="rId13"/>
    <p:sldId id="2147197057" r:id="rId14"/>
    <p:sldId id="29517" r:id="rId15"/>
    <p:sldId id="2147196949" r:id="rId16"/>
    <p:sldId id="2147196936" r:id="rId17"/>
    <p:sldId id="2147197058" r:id="rId18"/>
    <p:sldId id="2147196943" r:id="rId19"/>
    <p:sldId id="2147197059" r:id="rId20"/>
    <p:sldId id="2147196945" r:id="rId21"/>
    <p:sldId id="2147196906" r:id="rId22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E2B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02D1F9-7D5F-43D0-96A6-99A9343E0A8D}" v="10" dt="2022-11-02T17:55:03.9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70388" autoAdjust="0"/>
  </p:normalViewPr>
  <p:slideViewPr>
    <p:cSldViewPr snapToGrid="0">
      <p:cViewPr varScale="1">
        <p:scale>
          <a:sx n="67" d="100"/>
          <a:sy n="67" d="100"/>
        </p:scale>
        <p:origin x="174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Ugelstad, Runar" userId="a60ad5e6-2b11-4675-95d0-13765f36448a" providerId="ADAL" clId="{9802D1F9-7D5F-43D0-96A6-99A9343E0A8D}"/>
    <pc:docChg chg="custSel addSld delSld modSld sldOrd">
      <pc:chgData name="Ugelstad, Runar" userId="a60ad5e6-2b11-4675-95d0-13765f36448a" providerId="ADAL" clId="{9802D1F9-7D5F-43D0-96A6-99A9343E0A8D}" dt="2022-11-11T12:46:11.346" v="949" actId="20577"/>
      <pc:docMkLst>
        <pc:docMk/>
      </pc:docMkLst>
      <pc:sldChg chg="del">
        <pc:chgData name="Ugelstad, Runar" userId="a60ad5e6-2b11-4675-95d0-13765f36448a" providerId="ADAL" clId="{9802D1F9-7D5F-43D0-96A6-99A9343E0A8D}" dt="2022-11-02T15:50:44.918" v="620" actId="47"/>
        <pc:sldMkLst>
          <pc:docMk/>
          <pc:sldMk cId="1252465411" sldId="256"/>
        </pc:sldMkLst>
      </pc:sldChg>
      <pc:sldChg chg="del">
        <pc:chgData name="Ugelstad, Runar" userId="a60ad5e6-2b11-4675-95d0-13765f36448a" providerId="ADAL" clId="{9802D1F9-7D5F-43D0-96A6-99A9343E0A8D}" dt="2022-11-02T15:50:44.918" v="620" actId="47"/>
        <pc:sldMkLst>
          <pc:docMk/>
          <pc:sldMk cId="4243240610" sldId="257"/>
        </pc:sldMkLst>
      </pc:sldChg>
      <pc:sldChg chg="del">
        <pc:chgData name="Ugelstad, Runar" userId="a60ad5e6-2b11-4675-95d0-13765f36448a" providerId="ADAL" clId="{9802D1F9-7D5F-43D0-96A6-99A9343E0A8D}" dt="2022-11-02T15:50:44.918" v="620" actId="47"/>
        <pc:sldMkLst>
          <pc:docMk/>
          <pc:sldMk cId="592054332" sldId="258"/>
        </pc:sldMkLst>
      </pc:sldChg>
      <pc:sldChg chg="del">
        <pc:chgData name="Ugelstad, Runar" userId="a60ad5e6-2b11-4675-95d0-13765f36448a" providerId="ADAL" clId="{9802D1F9-7D5F-43D0-96A6-99A9343E0A8D}" dt="2022-11-02T15:50:44.918" v="620" actId="47"/>
        <pc:sldMkLst>
          <pc:docMk/>
          <pc:sldMk cId="745819698" sldId="259"/>
        </pc:sldMkLst>
      </pc:sldChg>
      <pc:sldChg chg="del">
        <pc:chgData name="Ugelstad, Runar" userId="a60ad5e6-2b11-4675-95d0-13765f36448a" providerId="ADAL" clId="{9802D1F9-7D5F-43D0-96A6-99A9343E0A8D}" dt="2022-11-02T15:50:44.918" v="620" actId="47"/>
        <pc:sldMkLst>
          <pc:docMk/>
          <pc:sldMk cId="1755777577" sldId="260"/>
        </pc:sldMkLst>
      </pc:sldChg>
      <pc:sldChg chg="modSp del mod">
        <pc:chgData name="Ugelstad, Runar" userId="a60ad5e6-2b11-4675-95d0-13765f36448a" providerId="ADAL" clId="{9802D1F9-7D5F-43D0-96A6-99A9343E0A8D}" dt="2022-11-02T14:55:00.869" v="129" actId="47"/>
        <pc:sldMkLst>
          <pc:docMk/>
          <pc:sldMk cId="732113522" sldId="302"/>
        </pc:sldMkLst>
        <pc:spChg chg="mod">
          <ac:chgData name="Ugelstad, Runar" userId="a60ad5e6-2b11-4675-95d0-13765f36448a" providerId="ADAL" clId="{9802D1F9-7D5F-43D0-96A6-99A9343E0A8D}" dt="2022-11-02T14:54:22.404" v="68" actId="20577"/>
          <ac:spMkLst>
            <pc:docMk/>
            <pc:sldMk cId="732113522" sldId="302"/>
            <ac:spMk id="2" creationId="{1CF0833B-DE57-4885-A150-6A8F4CB1C02C}"/>
          </ac:spMkLst>
        </pc:spChg>
        <pc:spChg chg="mod">
          <ac:chgData name="Ugelstad, Runar" userId="a60ad5e6-2b11-4675-95d0-13765f36448a" providerId="ADAL" clId="{9802D1F9-7D5F-43D0-96A6-99A9343E0A8D}" dt="2022-11-02T14:54:40.284" v="107" actId="20577"/>
          <ac:spMkLst>
            <pc:docMk/>
            <pc:sldMk cId="732113522" sldId="302"/>
            <ac:spMk id="3" creationId="{70D83766-3AEF-4437-A4BA-C0241E783911}"/>
          </ac:spMkLst>
        </pc:spChg>
      </pc:sldChg>
      <pc:sldChg chg="modSp mod">
        <pc:chgData name="Ugelstad, Runar" userId="a60ad5e6-2b11-4675-95d0-13765f36448a" providerId="ADAL" clId="{9802D1F9-7D5F-43D0-96A6-99A9343E0A8D}" dt="2022-11-02T15:38:57.560" v="554" actId="207"/>
        <pc:sldMkLst>
          <pc:docMk/>
          <pc:sldMk cId="932205619" sldId="29517"/>
        </pc:sldMkLst>
        <pc:spChg chg="mod">
          <ac:chgData name="Ugelstad, Runar" userId="a60ad5e6-2b11-4675-95d0-13765f36448a" providerId="ADAL" clId="{9802D1F9-7D5F-43D0-96A6-99A9343E0A8D}" dt="2022-11-02T15:38:57.560" v="554" actId="207"/>
          <ac:spMkLst>
            <pc:docMk/>
            <pc:sldMk cId="932205619" sldId="29517"/>
            <ac:spMk id="19" creationId="{79369D96-405E-469A-8AFE-217060810D19}"/>
          </ac:spMkLst>
        </pc:spChg>
      </pc:sldChg>
      <pc:sldChg chg="modSp mod">
        <pc:chgData name="Ugelstad, Runar" userId="a60ad5e6-2b11-4675-95d0-13765f36448a" providerId="ADAL" clId="{9802D1F9-7D5F-43D0-96A6-99A9343E0A8D}" dt="2022-11-11T12:46:11.346" v="949" actId="20577"/>
        <pc:sldMkLst>
          <pc:docMk/>
          <pc:sldMk cId="1309855093" sldId="2147196904"/>
        </pc:sldMkLst>
        <pc:spChg chg="mod">
          <ac:chgData name="Ugelstad, Runar" userId="a60ad5e6-2b11-4675-95d0-13765f36448a" providerId="ADAL" clId="{9802D1F9-7D5F-43D0-96A6-99A9343E0A8D}" dt="2022-11-11T12:46:11.346" v="949" actId="20577"/>
          <ac:spMkLst>
            <pc:docMk/>
            <pc:sldMk cId="1309855093" sldId="2147196904"/>
            <ac:spMk id="2" creationId="{EF181181-B4D6-F4F9-BDB1-9076DA237DDE}"/>
          </ac:spMkLst>
        </pc:spChg>
      </pc:sldChg>
      <pc:sldChg chg="del">
        <pc:chgData name="Ugelstad, Runar" userId="a60ad5e6-2b11-4675-95d0-13765f36448a" providerId="ADAL" clId="{9802D1F9-7D5F-43D0-96A6-99A9343E0A8D}" dt="2022-11-02T15:47:19.378" v="591" actId="47"/>
        <pc:sldMkLst>
          <pc:docMk/>
          <pc:sldMk cId="3923863198" sldId="2147196912"/>
        </pc:sldMkLst>
      </pc:sldChg>
      <pc:sldChg chg="del">
        <pc:chgData name="Ugelstad, Runar" userId="a60ad5e6-2b11-4675-95d0-13765f36448a" providerId="ADAL" clId="{9802D1F9-7D5F-43D0-96A6-99A9343E0A8D}" dt="2022-11-02T15:50:44.918" v="620" actId="47"/>
        <pc:sldMkLst>
          <pc:docMk/>
          <pc:sldMk cId="815969033" sldId="2147196913"/>
        </pc:sldMkLst>
      </pc:sldChg>
      <pc:sldChg chg="del">
        <pc:chgData name="Ugelstad, Runar" userId="a60ad5e6-2b11-4675-95d0-13765f36448a" providerId="ADAL" clId="{9802D1F9-7D5F-43D0-96A6-99A9343E0A8D}" dt="2022-11-02T15:54:12.854" v="657" actId="47"/>
        <pc:sldMkLst>
          <pc:docMk/>
          <pc:sldMk cId="3255597425" sldId="2147196916"/>
        </pc:sldMkLst>
      </pc:sldChg>
      <pc:sldChg chg="del">
        <pc:chgData name="Ugelstad, Runar" userId="a60ad5e6-2b11-4675-95d0-13765f36448a" providerId="ADAL" clId="{9802D1F9-7D5F-43D0-96A6-99A9343E0A8D}" dt="2022-11-02T15:47:19.378" v="591" actId="47"/>
        <pc:sldMkLst>
          <pc:docMk/>
          <pc:sldMk cId="3395971729" sldId="2147196917"/>
        </pc:sldMkLst>
      </pc:sldChg>
      <pc:sldChg chg="del">
        <pc:chgData name="Ugelstad, Runar" userId="a60ad5e6-2b11-4675-95d0-13765f36448a" providerId="ADAL" clId="{9802D1F9-7D5F-43D0-96A6-99A9343E0A8D}" dt="2022-11-02T15:50:59.364" v="623" actId="47"/>
        <pc:sldMkLst>
          <pc:docMk/>
          <pc:sldMk cId="4205035307" sldId="2147196918"/>
        </pc:sldMkLst>
      </pc:sldChg>
      <pc:sldChg chg="del">
        <pc:chgData name="Ugelstad, Runar" userId="a60ad5e6-2b11-4675-95d0-13765f36448a" providerId="ADAL" clId="{9802D1F9-7D5F-43D0-96A6-99A9343E0A8D}" dt="2022-11-02T15:50:51.053" v="622" actId="47"/>
        <pc:sldMkLst>
          <pc:docMk/>
          <pc:sldMk cId="2472989599" sldId="2147196921"/>
        </pc:sldMkLst>
      </pc:sldChg>
      <pc:sldChg chg="del">
        <pc:chgData name="Ugelstad, Runar" userId="a60ad5e6-2b11-4675-95d0-13765f36448a" providerId="ADAL" clId="{9802D1F9-7D5F-43D0-96A6-99A9343E0A8D}" dt="2022-11-02T15:47:19.378" v="591" actId="47"/>
        <pc:sldMkLst>
          <pc:docMk/>
          <pc:sldMk cId="1186472544" sldId="2147196922"/>
        </pc:sldMkLst>
      </pc:sldChg>
      <pc:sldChg chg="del">
        <pc:chgData name="Ugelstad, Runar" userId="a60ad5e6-2b11-4675-95d0-13765f36448a" providerId="ADAL" clId="{9802D1F9-7D5F-43D0-96A6-99A9343E0A8D}" dt="2022-11-02T15:47:19.378" v="591" actId="47"/>
        <pc:sldMkLst>
          <pc:docMk/>
          <pc:sldMk cId="1467844734" sldId="2147196929"/>
        </pc:sldMkLst>
      </pc:sldChg>
      <pc:sldChg chg="del">
        <pc:chgData name="Ugelstad, Runar" userId="a60ad5e6-2b11-4675-95d0-13765f36448a" providerId="ADAL" clId="{9802D1F9-7D5F-43D0-96A6-99A9343E0A8D}" dt="2022-11-02T15:58:20.310" v="687" actId="2696"/>
        <pc:sldMkLst>
          <pc:docMk/>
          <pc:sldMk cId="805274066" sldId="2147196932"/>
        </pc:sldMkLst>
      </pc:sldChg>
      <pc:sldChg chg="del ord">
        <pc:chgData name="Ugelstad, Runar" userId="a60ad5e6-2b11-4675-95d0-13765f36448a" providerId="ADAL" clId="{9802D1F9-7D5F-43D0-96A6-99A9343E0A8D}" dt="2022-11-02T15:51:31.089" v="625" actId="47"/>
        <pc:sldMkLst>
          <pc:docMk/>
          <pc:sldMk cId="1807267068" sldId="2147196933"/>
        </pc:sldMkLst>
      </pc:sldChg>
      <pc:sldChg chg="modSp mod modNotesTx">
        <pc:chgData name="Ugelstad, Runar" userId="a60ad5e6-2b11-4675-95d0-13765f36448a" providerId="ADAL" clId="{9802D1F9-7D5F-43D0-96A6-99A9343E0A8D}" dt="2022-11-02T17:05:01.643" v="804" actId="20577"/>
        <pc:sldMkLst>
          <pc:docMk/>
          <pc:sldMk cId="3123317407" sldId="2147196936"/>
        </pc:sldMkLst>
        <pc:spChg chg="mod">
          <ac:chgData name="Ugelstad, Runar" userId="a60ad5e6-2b11-4675-95d0-13765f36448a" providerId="ADAL" clId="{9802D1F9-7D5F-43D0-96A6-99A9343E0A8D}" dt="2022-11-02T15:48:07.148" v="609" actId="20577"/>
          <ac:spMkLst>
            <pc:docMk/>
            <pc:sldMk cId="3123317407" sldId="2147196936"/>
            <ac:spMk id="2" creationId="{578FDC86-295A-9F00-1294-0FAE9B6D6CED}"/>
          </ac:spMkLst>
        </pc:spChg>
        <pc:spChg chg="mod">
          <ac:chgData name="Ugelstad, Runar" userId="a60ad5e6-2b11-4675-95d0-13765f36448a" providerId="ADAL" clId="{9802D1F9-7D5F-43D0-96A6-99A9343E0A8D}" dt="2022-11-02T15:47:54.749" v="595" actId="20577"/>
          <ac:spMkLst>
            <pc:docMk/>
            <pc:sldMk cId="3123317407" sldId="2147196936"/>
            <ac:spMk id="3" creationId="{B8B983E9-6094-CC84-90D2-1978A70FBD09}"/>
          </ac:spMkLst>
        </pc:spChg>
      </pc:sldChg>
      <pc:sldChg chg="modSp del mod">
        <pc:chgData name="Ugelstad, Runar" userId="a60ad5e6-2b11-4675-95d0-13765f36448a" providerId="ADAL" clId="{9802D1F9-7D5F-43D0-96A6-99A9343E0A8D}" dt="2022-11-02T17:17:11.905" v="905" actId="47"/>
        <pc:sldMkLst>
          <pc:docMk/>
          <pc:sldMk cId="2865869153" sldId="2147196937"/>
        </pc:sldMkLst>
        <pc:spChg chg="mod">
          <ac:chgData name="Ugelstad, Runar" userId="a60ad5e6-2b11-4675-95d0-13765f36448a" providerId="ADAL" clId="{9802D1F9-7D5F-43D0-96A6-99A9343E0A8D}" dt="2022-11-02T15:51:34.158" v="626"/>
          <ac:spMkLst>
            <pc:docMk/>
            <pc:sldMk cId="2865869153" sldId="2147196937"/>
            <ac:spMk id="3" creationId="{DD716825-89F8-49B0-AFE9-7E50720B3AE6}"/>
          </ac:spMkLst>
        </pc:spChg>
        <pc:spChg chg="mod">
          <ac:chgData name="Ugelstad, Runar" userId="a60ad5e6-2b11-4675-95d0-13765f36448a" providerId="ADAL" clId="{9802D1F9-7D5F-43D0-96A6-99A9343E0A8D}" dt="2022-11-02T16:02:34.059" v="794" actId="20577"/>
          <ac:spMkLst>
            <pc:docMk/>
            <pc:sldMk cId="2865869153" sldId="2147196937"/>
            <ac:spMk id="4" creationId="{08AD4CE9-C974-7425-E252-2D8B1622FC9A}"/>
          </ac:spMkLst>
        </pc:spChg>
      </pc:sldChg>
      <pc:sldChg chg="modSp mod ord">
        <pc:chgData name="Ugelstad, Runar" userId="a60ad5e6-2b11-4675-95d0-13765f36448a" providerId="ADAL" clId="{9802D1F9-7D5F-43D0-96A6-99A9343E0A8D}" dt="2022-11-11T10:55:26.271" v="936" actId="20577"/>
        <pc:sldMkLst>
          <pc:docMk/>
          <pc:sldMk cId="42348124" sldId="2147196941"/>
        </pc:sldMkLst>
        <pc:spChg chg="mod">
          <ac:chgData name="Ugelstad, Runar" userId="a60ad5e6-2b11-4675-95d0-13765f36448a" providerId="ADAL" clId="{9802D1F9-7D5F-43D0-96A6-99A9343E0A8D}" dt="2022-11-02T15:11:27.639" v="448" actId="20577"/>
          <ac:spMkLst>
            <pc:docMk/>
            <pc:sldMk cId="42348124" sldId="2147196941"/>
            <ac:spMk id="5" creationId="{63D689F2-424B-40A0-F547-3630242BC508}"/>
          </ac:spMkLst>
        </pc:spChg>
        <pc:spChg chg="mod">
          <ac:chgData name="Ugelstad, Runar" userId="a60ad5e6-2b11-4675-95d0-13765f36448a" providerId="ADAL" clId="{9802D1F9-7D5F-43D0-96A6-99A9343E0A8D}" dt="2022-11-11T10:55:26.271" v="936" actId="20577"/>
          <ac:spMkLst>
            <pc:docMk/>
            <pc:sldMk cId="42348124" sldId="2147196941"/>
            <ac:spMk id="7" creationId="{BA173552-C614-117E-3790-64201275D890}"/>
          </ac:spMkLst>
        </pc:spChg>
      </pc:sldChg>
      <pc:sldChg chg="del">
        <pc:chgData name="Ugelstad, Runar" userId="a60ad5e6-2b11-4675-95d0-13765f36448a" providerId="ADAL" clId="{9802D1F9-7D5F-43D0-96A6-99A9343E0A8D}" dt="2022-11-02T15:50:44.918" v="620" actId="47"/>
        <pc:sldMkLst>
          <pc:docMk/>
          <pc:sldMk cId="4236742192" sldId="2147196942"/>
        </pc:sldMkLst>
      </pc:sldChg>
      <pc:sldChg chg="modSp mod ord">
        <pc:chgData name="Ugelstad, Runar" userId="a60ad5e6-2b11-4675-95d0-13765f36448a" providerId="ADAL" clId="{9802D1F9-7D5F-43D0-96A6-99A9343E0A8D}" dt="2022-11-02T17:15:59.746" v="904" actId="20577"/>
        <pc:sldMkLst>
          <pc:docMk/>
          <pc:sldMk cId="3185196140" sldId="2147196943"/>
        </pc:sldMkLst>
        <pc:spChg chg="mod">
          <ac:chgData name="Ugelstad, Runar" userId="a60ad5e6-2b11-4675-95d0-13765f36448a" providerId="ADAL" clId="{9802D1F9-7D5F-43D0-96A6-99A9343E0A8D}" dt="2022-11-02T17:09:16.753" v="899" actId="13926"/>
          <ac:spMkLst>
            <pc:docMk/>
            <pc:sldMk cId="3185196140" sldId="2147196943"/>
            <ac:spMk id="4" creationId="{0EE278BA-3CD6-B469-D6E1-4D59B86259FA}"/>
          </ac:spMkLst>
        </pc:spChg>
        <pc:spChg chg="mod">
          <ac:chgData name="Ugelstad, Runar" userId="a60ad5e6-2b11-4675-95d0-13765f36448a" providerId="ADAL" clId="{9802D1F9-7D5F-43D0-96A6-99A9343E0A8D}" dt="2022-11-02T17:15:59.746" v="904" actId="20577"/>
          <ac:spMkLst>
            <pc:docMk/>
            <pc:sldMk cId="3185196140" sldId="2147196943"/>
            <ac:spMk id="5" creationId="{B9CACEC6-A4A5-473B-5FCB-393A64D43BFA}"/>
          </ac:spMkLst>
        </pc:spChg>
      </pc:sldChg>
      <pc:sldChg chg="ord">
        <pc:chgData name="Ugelstad, Runar" userId="a60ad5e6-2b11-4675-95d0-13765f36448a" providerId="ADAL" clId="{9802D1F9-7D5F-43D0-96A6-99A9343E0A8D}" dt="2022-11-02T15:50:27.414" v="619"/>
        <pc:sldMkLst>
          <pc:docMk/>
          <pc:sldMk cId="3725674482" sldId="2147196945"/>
        </pc:sldMkLst>
      </pc:sldChg>
      <pc:sldChg chg="del">
        <pc:chgData name="Ugelstad, Runar" userId="a60ad5e6-2b11-4675-95d0-13765f36448a" providerId="ADAL" clId="{9802D1F9-7D5F-43D0-96A6-99A9343E0A8D}" dt="2022-11-02T15:50:48.145" v="621" actId="47"/>
        <pc:sldMkLst>
          <pc:docMk/>
          <pc:sldMk cId="192704385" sldId="2147196946"/>
        </pc:sldMkLst>
      </pc:sldChg>
      <pc:sldChg chg="modSp new del mod">
        <pc:chgData name="Ugelstad, Runar" userId="a60ad5e6-2b11-4675-95d0-13765f36448a" providerId="ADAL" clId="{9802D1F9-7D5F-43D0-96A6-99A9343E0A8D}" dt="2022-11-02T14:56:27.929" v="145" actId="47"/>
        <pc:sldMkLst>
          <pc:docMk/>
          <pc:sldMk cId="3933476329" sldId="2147196947"/>
        </pc:sldMkLst>
        <pc:spChg chg="mod">
          <ac:chgData name="Ugelstad, Runar" userId="a60ad5e6-2b11-4675-95d0-13765f36448a" providerId="ADAL" clId="{9802D1F9-7D5F-43D0-96A6-99A9343E0A8D}" dt="2022-11-02T14:54:57.572" v="128" actId="20577"/>
          <ac:spMkLst>
            <pc:docMk/>
            <pc:sldMk cId="3933476329" sldId="2147196947"/>
            <ac:spMk id="2" creationId="{33CC5FF9-48A1-9495-6F87-5F567ECC384A}"/>
          </ac:spMkLst>
        </pc:spChg>
      </pc:sldChg>
      <pc:sldChg chg="modSp add del mod">
        <pc:chgData name="Ugelstad, Runar" userId="a60ad5e6-2b11-4675-95d0-13765f36448a" providerId="ADAL" clId="{9802D1F9-7D5F-43D0-96A6-99A9343E0A8D}" dt="2022-11-02T14:56:18.816" v="143" actId="47"/>
        <pc:sldMkLst>
          <pc:docMk/>
          <pc:sldMk cId="1380209553" sldId="2147196948"/>
        </pc:sldMkLst>
        <pc:spChg chg="mod">
          <ac:chgData name="Ugelstad, Runar" userId="a60ad5e6-2b11-4675-95d0-13765f36448a" providerId="ADAL" clId="{9802D1F9-7D5F-43D0-96A6-99A9343E0A8D}" dt="2022-11-02T14:56:16.590" v="142" actId="6549"/>
          <ac:spMkLst>
            <pc:docMk/>
            <pc:sldMk cId="1380209553" sldId="2147196948"/>
            <ac:spMk id="2" creationId="{33CC5FF9-48A1-9495-6F87-5F567ECC384A}"/>
          </ac:spMkLst>
        </pc:spChg>
        <pc:spChg chg="mod">
          <ac:chgData name="Ugelstad, Runar" userId="a60ad5e6-2b11-4675-95d0-13765f36448a" providerId="ADAL" clId="{9802D1F9-7D5F-43D0-96A6-99A9343E0A8D}" dt="2022-11-02T14:55:45.182" v="140" actId="20577"/>
          <ac:spMkLst>
            <pc:docMk/>
            <pc:sldMk cId="1380209553" sldId="2147196948"/>
            <ac:spMk id="3" creationId="{93D702E2-6D9F-B12C-894E-D0F69A3FED18}"/>
          </ac:spMkLst>
        </pc:spChg>
      </pc:sldChg>
      <pc:sldChg chg="modSp add mod">
        <pc:chgData name="Ugelstad, Runar" userId="a60ad5e6-2b11-4675-95d0-13765f36448a" providerId="ADAL" clId="{9802D1F9-7D5F-43D0-96A6-99A9343E0A8D}" dt="2022-11-02T17:11:03.209" v="901" actId="20577"/>
        <pc:sldMkLst>
          <pc:docMk/>
          <pc:sldMk cId="2094671060" sldId="2147196949"/>
        </pc:sldMkLst>
        <pc:spChg chg="mod">
          <ac:chgData name="Ugelstad, Runar" userId="a60ad5e6-2b11-4675-95d0-13765f36448a" providerId="ADAL" clId="{9802D1F9-7D5F-43D0-96A6-99A9343E0A8D}" dt="2022-11-02T15:43:08.715" v="558" actId="20577"/>
          <ac:spMkLst>
            <pc:docMk/>
            <pc:sldMk cId="2094671060" sldId="2147196949"/>
            <ac:spMk id="5" creationId="{63D689F2-424B-40A0-F547-3630242BC508}"/>
          </ac:spMkLst>
        </pc:spChg>
        <pc:spChg chg="mod">
          <ac:chgData name="Ugelstad, Runar" userId="a60ad5e6-2b11-4675-95d0-13765f36448a" providerId="ADAL" clId="{9802D1F9-7D5F-43D0-96A6-99A9343E0A8D}" dt="2022-11-02T17:11:03.209" v="901" actId="20577"/>
          <ac:spMkLst>
            <pc:docMk/>
            <pc:sldMk cId="2094671060" sldId="2147196949"/>
            <ac:spMk id="7" creationId="{BA173552-C614-117E-3790-64201275D890}"/>
          </ac:spMkLst>
        </pc:spChg>
      </pc:sldChg>
      <pc:sldChg chg="modSp mod modNotesTx">
        <pc:chgData name="Ugelstad, Runar" userId="a60ad5e6-2b11-4675-95d0-13765f36448a" providerId="ADAL" clId="{9802D1F9-7D5F-43D0-96A6-99A9343E0A8D}" dt="2022-11-02T15:30:28.279" v="517" actId="20577"/>
        <pc:sldMkLst>
          <pc:docMk/>
          <pc:sldMk cId="2720408437" sldId="2147197055"/>
        </pc:sldMkLst>
        <pc:spChg chg="mod">
          <ac:chgData name="Ugelstad, Runar" userId="a60ad5e6-2b11-4675-95d0-13765f36448a" providerId="ADAL" clId="{9802D1F9-7D5F-43D0-96A6-99A9343E0A8D}" dt="2022-11-02T15:29:59.005" v="516" actId="114"/>
          <ac:spMkLst>
            <pc:docMk/>
            <pc:sldMk cId="2720408437" sldId="2147197055"/>
            <ac:spMk id="13" creationId="{ABC06FFB-9BCB-4F7B-A887-33720894FAA7}"/>
          </ac:spMkLst>
        </pc:spChg>
      </pc:sldChg>
      <pc:sldChg chg="modSp mod">
        <pc:chgData name="Ugelstad, Runar" userId="a60ad5e6-2b11-4675-95d0-13765f36448a" providerId="ADAL" clId="{9802D1F9-7D5F-43D0-96A6-99A9343E0A8D}" dt="2022-11-02T15:29:14.993" v="515" actId="20577"/>
        <pc:sldMkLst>
          <pc:docMk/>
          <pc:sldMk cId="3984887212" sldId="2147197056"/>
        </pc:sldMkLst>
        <pc:spChg chg="mod">
          <ac:chgData name="Ugelstad, Runar" userId="a60ad5e6-2b11-4675-95d0-13765f36448a" providerId="ADAL" clId="{9802D1F9-7D5F-43D0-96A6-99A9343E0A8D}" dt="2022-11-02T15:11:44.147" v="450" actId="13926"/>
          <ac:spMkLst>
            <pc:docMk/>
            <pc:sldMk cId="3984887212" sldId="2147197056"/>
            <ac:spMk id="18" creationId="{4DB903D5-427C-4D50-9B15-FB63AD6AA468}"/>
          </ac:spMkLst>
        </pc:spChg>
        <pc:spChg chg="mod">
          <ac:chgData name="Ugelstad, Runar" userId="a60ad5e6-2b11-4675-95d0-13765f36448a" providerId="ADAL" clId="{9802D1F9-7D5F-43D0-96A6-99A9343E0A8D}" dt="2022-11-02T15:11:48.103" v="451" actId="13926"/>
          <ac:spMkLst>
            <pc:docMk/>
            <pc:sldMk cId="3984887212" sldId="2147197056"/>
            <ac:spMk id="54" creationId="{C1BE6692-2BCF-4D83-9DF9-70C57F58A595}"/>
          </ac:spMkLst>
        </pc:spChg>
        <pc:spChg chg="mod">
          <ac:chgData name="Ugelstad, Runar" userId="a60ad5e6-2b11-4675-95d0-13765f36448a" providerId="ADAL" clId="{9802D1F9-7D5F-43D0-96A6-99A9343E0A8D}" dt="2022-11-02T15:29:14.993" v="515" actId="20577"/>
          <ac:spMkLst>
            <pc:docMk/>
            <pc:sldMk cId="3984887212" sldId="2147197056"/>
            <ac:spMk id="58" creationId="{0DEF5E8F-380B-4AF8-8F22-72CD180F9DD8}"/>
          </ac:spMkLst>
        </pc:spChg>
        <pc:spChg chg="mod">
          <ac:chgData name="Ugelstad, Runar" userId="a60ad5e6-2b11-4675-95d0-13765f36448a" providerId="ADAL" clId="{9802D1F9-7D5F-43D0-96A6-99A9343E0A8D}" dt="2022-11-02T15:11:40.589" v="449" actId="13926"/>
          <ac:spMkLst>
            <pc:docMk/>
            <pc:sldMk cId="3984887212" sldId="2147197056"/>
            <ac:spMk id="59" creationId="{552F1FD2-0A8E-4C1F-8B87-0BABC6B3E1F0}"/>
          </ac:spMkLst>
        </pc:spChg>
      </pc:sldChg>
      <pc:sldChg chg="modSp mod modNotesTx">
        <pc:chgData name="Ugelstad, Runar" userId="a60ad5e6-2b11-4675-95d0-13765f36448a" providerId="ADAL" clId="{9802D1F9-7D5F-43D0-96A6-99A9343E0A8D}" dt="2022-11-02T15:36:27.735" v="518" actId="20577"/>
        <pc:sldMkLst>
          <pc:docMk/>
          <pc:sldMk cId="3018049499" sldId="2147197057"/>
        </pc:sldMkLst>
        <pc:spChg chg="mod">
          <ac:chgData name="Ugelstad, Runar" userId="a60ad5e6-2b11-4675-95d0-13765f36448a" providerId="ADAL" clId="{9802D1F9-7D5F-43D0-96A6-99A9343E0A8D}" dt="2022-11-02T15:04:54.392" v="344" actId="13926"/>
          <ac:spMkLst>
            <pc:docMk/>
            <pc:sldMk cId="3018049499" sldId="2147197057"/>
            <ac:spMk id="30" creationId="{2C4A601A-41F6-4EA8-9119-ECD3AFF60D24}"/>
          </ac:spMkLst>
        </pc:spChg>
      </pc:sldChg>
      <pc:sldChg chg="modSp add mod ord">
        <pc:chgData name="Ugelstad, Runar" userId="a60ad5e6-2b11-4675-95d0-13765f36448a" providerId="ADAL" clId="{9802D1F9-7D5F-43D0-96A6-99A9343E0A8D}" dt="2022-11-02T17:28:02.988" v="926" actId="20577"/>
        <pc:sldMkLst>
          <pc:docMk/>
          <pc:sldMk cId="2322393305" sldId="2147197058"/>
        </pc:sldMkLst>
        <pc:spChg chg="mod">
          <ac:chgData name="Ugelstad, Runar" userId="a60ad5e6-2b11-4675-95d0-13765f36448a" providerId="ADAL" clId="{9802D1F9-7D5F-43D0-96A6-99A9343E0A8D}" dt="2022-11-02T16:00:00.891" v="711" actId="1076"/>
          <ac:spMkLst>
            <pc:docMk/>
            <pc:sldMk cId="2322393305" sldId="2147197058"/>
            <ac:spMk id="5" creationId="{63D689F2-424B-40A0-F547-3630242BC508}"/>
          </ac:spMkLst>
        </pc:spChg>
        <pc:spChg chg="mod">
          <ac:chgData name="Ugelstad, Runar" userId="a60ad5e6-2b11-4675-95d0-13765f36448a" providerId="ADAL" clId="{9802D1F9-7D5F-43D0-96A6-99A9343E0A8D}" dt="2022-11-02T17:28:02.988" v="926" actId="20577"/>
          <ac:spMkLst>
            <pc:docMk/>
            <pc:sldMk cId="2322393305" sldId="2147197058"/>
            <ac:spMk id="7" creationId="{BA173552-C614-117E-3790-64201275D890}"/>
          </ac:spMkLst>
        </pc:spChg>
      </pc:sldChg>
      <pc:sldChg chg="modSp add mod ord">
        <pc:chgData name="Ugelstad, Runar" userId="a60ad5e6-2b11-4675-95d0-13765f36448a" providerId="ADAL" clId="{9802D1F9-7D5F-43D0-96A6-99A9343E0A8D}" dt="2022-11-02T17:27:45.269" v="915" actId="20577"/>
        <pc:sldMkLst>
          <pc:docMk/>
          <pc:sldMk cId="4278471331" sldId="2147197059"/>
        </pc:sldMkLst>
        <pc:spChg chg="mod">
          <ac:chgData name="Ugelstad, Runar" userId="a60ad5e6-2b11-4675-95d0-13765f36448a" providerId="ADAL" clId="{9802D1F9-7D5F-43D0-96A6-99A9343E0A8D}" dt="2022-11-02T17:17:21.518" v="907" actId="20577"/>
          <ac:spMkLst>
            <pc:docMk/>
            <pc:sldMk cId="4278471331" sldId="2147197059"/>
            <ac:spMk id="5" creationId="{63D689F2-424B-40A0-F547-3630242BC508}"/>
          </ac:spMkLst>
        </pc:spChg>
        <pc:spChg chg="mod">
          <ac:chgData name="Ugelstad, Runar" userId="a60ad5e6-2b11-4675-95d0-13765f36448a" providerId="ADAL" clId="{9802D1F9-7D5F-43D0-96A6-99A9343E0A8D}" dt="2022-11-02T17:27:45.269" v="915" actId="20577"/>
          <ac:spMkLst>
            <pc:docMk/>
            <pc:sldMk cId="4278471331" sldId="2147197059"/>
            <ac:spMk id="7" creationId="{BA173552-C614-117E-3790-64201275D890}"/>
          </ac:spMkLst>
        </pc:spChg>
      </pc:sldChg>
      <pc:sldMasterChg chg="delSldLayout">
        <pc:chgData name="Ugelstad, Runar" userId="a60ad5e6-2b11-4675-95d0-13765f36448a" providerId="ADAL" clId="{9802D1F9-7D5F-43D0-96A6-99A9343E0A8D}" dt="2022-11-02T15:50:44.918" v="620" actId="47"/>
        <pc:sldMasterMkLst>
          <pc:docMk/>
          <pc:sldMasterMk cId="3710952659" sldId="2147483735"/>
        </pc:sldMasterMkLst>
        <pc:sldLayoutChg chg="del">
          <pc:chgData name="Ugelstad, Runar" userId="a60ad5e6-2b11-4675-95d0-13765f36448a" providerId="ADAL" clId="{9802D1F9-7D5F-43D0-96A6-99A9343E0A8D}" dt="2022-11-02T15:50:44.918" v="620" actId="47"/>
          <pc:sldLayoutMkLst>
            <pc:docMk/>
            <pc:sldMasterMk cId="3710952659" sldId="2147483735"/>
            <pc:sldLayoutMk cId="868316766" sldId="214748381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418011-CA07-4596-9705-56DBBA1C3542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1724E-F8CD-4ABD-83D3-57F516E72F5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8191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91724E-F8CD-4ABD-83D3-57F516E72F50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60773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ttps://www.nkom.no/internett/elektronisk-id-og-tillitstjenester/elektronisk-identifikasjon-eid 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91724E-F8CD-4ABD-83D3-57F516E72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3849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91724E-F8CD-4ABD-83D3-57F516E72F50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476609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91724E-F8CD-4ABD-83D3-57F516E72F50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351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91724E-F8CD-4ABD-83D3-57F516E72F50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341441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7CF400-8C4C-4543-BFD3-3FDA2E55EF1A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9033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="1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4A786-69A5-4C1A-88F5-F37C2D0007D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025058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A9023A-86D5-4C70-AD8F-B1362AE0784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5040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05B217-1166-4C22-8C6E-A111D50346E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27406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91724E-F8CD-4ABD-83D3-57F516E72F50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5240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91724E-F8CD-4ABD-83D3-57F516E72F50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483586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91724E-F8CD-4ABD-83D3-57F516E72F50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3789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4" Type="http://schemas.openxmlformats.org/officeDocument/2006/relationships/image" Target="../media/image18.emf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4" Type="http://schemas.openxmlformats.org/officeDocument/2006/relationships/image" Target="../media/image18.emf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4.xml"/><Relationship Id="rId4" Type="http://schemas.openxmlformats.org/officeDocument/2006/relationships/image" Target="../media/image18.emf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8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8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8.emf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18.emf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4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03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910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932641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18682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627394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37875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7200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82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30568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96422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00862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46938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3915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08427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36208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0567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25666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813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57589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84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590" y="1565673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28383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78107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0751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99674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05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6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60907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85424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799268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00799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77331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71265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409654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134944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52122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17535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637759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169405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442465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45511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79922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67443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1675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6091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01693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049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91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590" y="1565673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87079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897141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39967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061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656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57091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7807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22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11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17356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229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69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207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72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734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23358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642467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64856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6918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 dirty="0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7039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0165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29089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11874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664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4646" y="450080"/>
            <a:ext cx="329394" cy="330711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79069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 dirty="0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 dirty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 dirty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 dirty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 dirty="0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 dirty="0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 dirty="0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 dirty="0">
                <a:solidFill>
                  <a:schemeClr val="bg1"/>
                </a:solidFill>
              </a:rPr>
              <a:t>Grev Wedels Plass 9, 0151 Oslo</a:t>
            </a:r>
            <a:endParaRPr lang="nb-NO" sz="900" b="0" dirty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 dirty="0">
                <a:solidFill>
                  <a:srgbClr val="1E2B3C"/>
                </a:solidFill>
              </a:rPr>
              <a:t>digdir.no</a:t>
            </a:r>
            <a:endParaRPr lang="nb-NO" sz="900" b="0" dirty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906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498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38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196896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43195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29521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8231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705181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025970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37041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5176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92210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6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4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060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7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65301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9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9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7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96975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2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4258112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3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19490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00107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1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4" y="2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4856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3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30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5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1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5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7581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4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050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935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900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3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5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33052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4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1" y="3221746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2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315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995700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3799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74374B8-FABC-FF75-9FAB-55FBA4D05D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CCB4AC4-8801-7781-CB78-0BB378C456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7EA6CA3-FDE9-3683-C5B8-12AD2C2929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4D0C757-520F-D8F6-5EBE-E60E01E440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98AF554-5F95-0AFE-38F0-564D727891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269329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FC0D161-06C6-0752-DCE1-D54791C88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8F8855A-CE00-CDB5-8FC4-8B4C15B3FE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0E95BD-F61C-7ACF-3F89-F5DA9910C2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B9063C9-059A-059D-F71D-D2286CD90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901ACBC-B90D-1E12-3EEC-9F9CE641E3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94051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8920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AEB354D-E87D-F5C1-8948-AF8E96CC1A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99081E6-8010-33B6-7BC1-EF3EAD71BC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4D97A9C-B36F-3F73-0370-12D4E6A20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38129-AF15-E981-78ED-39C652503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76240E-DCCB-12C3-4547-0950C8009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0154423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815857-69E7-E7A0-8186-87AE430DC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2E971E2-5679-A9AC-DA2A-AA7494FE3E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3383122-A0C0-F750-A9D5-093BAD5F746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88D1C38-8648-F0FA-F72F-CADE2D71BE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FD7653E-8108-5DEB-70BF-A2ECA3AB0B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B0370D5E-A040-B8A5-A71D-6E375F7E6E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7493546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0FFD1CB-9BFB-895A-2E33-03DB0B7D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5A793FB-8A31-E717-D06D-121BC9125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3F0884D-3784-2981-FDB7-2093D557DAC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01E1AD0-DCAF-6D12-6E8F-7561F3C705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8CB583D1-834C-57F2-6FCB-614E7E7CEFA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5A61BAA9-7CA4-A69B-BAC2-A7E622BB2B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7018CD38-6599-9B26-1CD0-25FD830F71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E5665722-61B7-521F-260A-FA26EA0B9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267566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CED0AF1-A6E3-D578-17FF-83D55247C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A02B6BC0-89D2-5BB5-D7DB-F7C1A2095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6A3D7C48-08D9-6F16-F391-3D52F7A9F0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75C5BAD9-E720-CFB9-75EC-A831F7D5B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9895671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665C6DD0-CDBF-0B0D-EB65-E334FED9FD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A360D8DF-2F86-1DAB-1066-B24A99936F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C5CBF16-F2BA-D0EF-D214-48EC0A415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829415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1E6B552-C787-1017-0366-972CD33023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7F8E1A0-4F3B-3BC9-CF3E-09758045DC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226C4892-6837-94E0-758F-579E846C77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64631EF-233A-3120-6EB4-CE62D805E6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8C600C88-744C-390E-5CC6-2698F1F61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1337E8C8-751F-13E0-5B00-B050462BA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138421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920FA2B-6999-0C2E-5C61-F5C995683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82C9A025-BEFB-D714-6C93-CC7D94970F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DE6A74D-0A39-D535-FA8D-385AF66C05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6052170-C7F9-6819-55EE-82CEB4062B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4ED44F4-A3DC-21EC-2252-943E64247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A285A21-509B-938E-F102-D36A16BAFB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808207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A79647B-D0A1-5D13-5ED9-9AF9D0C53A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CCC9D56F-3F01-1D42-2B5F-52C5728DB64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D7FE31A-E394-EC90-70EF-8E73AD2C37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06ACC5F-B708-C191-0C14-597D4DB2BD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0EC17E2-6E34-55C7-8DE8-D455E43F18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949632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EBCBEE9B-598D-D3BD-AD95-42958C56A94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F643A6AB-1590-C68E-0362-179C3CA30B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B004D6F-50AD-AEFD-475F-4C07B18E8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432725F-152F-EB99-66F3-BD1E2FE8D8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D29AB77-E91A-A983-53A0-25A32D5AB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6684600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page exter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7" descr="Et bilde som inneholder skilt, skjorte&#10;&#10;Automatisk generert beskrivelse">
            <a:extLst>
              <a:ext uri="{FF2B5EF4-FFF2-40B4-BE49-F238E27FC236}">
                <a16:creationId xmlns:a16="http://schemas.microsoft.com/office/drawing/2014/main" id="{CDBDCD33-1B68-40F7-93CB-D9B9803B7A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3039" y="843065"/>
            <a:ext cx="4367471" cy="2738336"/>
          </a:xfrm>
          <a:prstGeom prst="rect">
            <a:avLst/>
          </a:prstGeom>
        </p:spPr>
      </p:pic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9EFF181-DD41-4526-9C79-886AB3AC07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60465" y="2296933"/>
            <a:ext cx="5847398" cy="582901"/>
          </a:xfrm>
        </p:spPr>
        <p:txBody>
          <a:bodyPr>
            <a:normAutofit/>
          </a:bodyPr>
          <a:lstStyle>
            <a:lvl1pPr marL="0" marR="0" indent="0" algn="l" defTabSz="12190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3200" b="1" kern="1200" dirty="0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Main title</a:t>
            </a:r>
          </a:p>
          <a:p>
            <a:pPr lvl="0"/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42FE11-AE66-4633-8DCA-607F2C2C69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60465" y="3695626"/>
            <a:ext cx="5847398" cy="371221"/>
          </a:xfrm>
        </p:spPr>
        <p:txBody>
          <a:bodyPr>
            <a:noAutofit/>
          </a:bodyPr>
          <a:lstStyle>
            <a:lvl1pPr marL="0" marR="0" indent="0" algn="l" defTabSz="12190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lang="en-GB" sz="1800" kern="1200" dirty="0">
                <a:solidFill>
                  <a:srgbClr val="000066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i="0"/>
              <a:t>Presenter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7F20275F-5675-472A-B4A9-5B01D1EB10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60465" y="4067506"/>
            <a:ext cx="5847398" cy="371221"/>
          </a:xfrm>
        </p:spPr>
        <p:txBody>
          <a:bodyPr>
            <a:noAutofit/>
          </a:bodyPr>
          <a:lstStyle>
            <a:lvl1pPr marL="0" marR="0" indent="0" algn="l" defTabSz="12190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lang="en-GB" sz="1800" kern="1200" dirty="0">
                <a:solidFill>
                  <a:srgbClr val="000066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i="0" err="1"/>
              <a:t>Organisation</a:t>
            </a:r>
            <a:endParaRPr lang="en-US" i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EE6D834-2623-47FC-84FB-564179128F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465" y="4608788"/>
            <a:ext cx="5847398" cy="371221"/>
          </a:xfrm>
        </p:spPr>
        <p:txBody>
          <a:bodyPr>
            <a:noAutofit/>
          </a:bodyPr>
          <a:lstStyle>
            <a:lvl1pPr marL="0" marR="0" indent="0" algn="l" defTabSz="12190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 lang="en-GB" sz="1800" kern="1200" dirty="0">
                <a:solidFill>
                  <a:srgbClr val="000066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i="0"/>
              <a:t>Place and dat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4E3E00AE-ECE3-4F86-A0A6-D90CADD3F3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60465" y="2886173"/>
            <a:ext cx="5847398" cy="582901"/>
          </a:xfrm>
        </p:spPr>
        <p:txBody>
          <a:bodyPr>
            <a:normAutofit/>
          </a:bodyPr>
          <a:lstStyle>
            <a:lvl1pPr marL="0" marR="0" indent="0" algn="l" defTabSz="12190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GB" sz="2600" b="0" i="1" kern="1200" dirty="0">
                <a:solidFill>
                  <a:srgbClr val="000066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Subtitle</a:t>
            </a:r>
            <a:endParaRPr lang="en-GB"/>
          </a:p>
        </p:txBody>
      </p:sp>
      <p:pic>
        <p:nvPicPr>
          <p:cNvPr id="8" name="Bilde 4">
            <a:extLst>
              <a:ext uri="{FF2B5EF4-FFF2-40B4-BE49-F238E27FC236}">
                <a16:creationId xmlns:a16="http://schemas.microsoft.com/office/drawing/2014/main" id="{59A89ABD-6772-418C-8306-C554EF40A3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0337" y="6225166"/>
            <a:ext cx="2541434" cy="38302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9C362DA-5A65-4D44-A1B7-0439550AC93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98119" y="6095479"/>
            <a:ext cx="2195762" cy="559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705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383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24189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BDE6C-B2A0-4CAC-9E82-0CC0D0637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07ACAD-2A00-4A3B-A4B2-858D24BB7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32846C5-7D4C-4814-91D1-043B04FFCD5F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9344895-DC65-4425-81C3-E77E8F8CEC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203864"/>
              </a:buClr>
              <a:defRPr sz="2800"/>
            </a:lvl1pPr>
            <a:lvl2pPr>
              <a:buClr>
                <a:srgbClr val="203864"/>
              </a:buClr>
              <a:defRPr sz="2400"/>
            </a:lvl2pPr>
            <a:lvl3pPr>
              <a:buClr>
                <a:srgbClr val="203864"/>
              </a:buClr>
              <a:defRPr sz="2000"/>
            </a:lvl3pPr>
            <a:lvl4pPr>
              <a:buClr>
                <a:srgbClr val="203864"/>
              </a:buClr>
              <a:defRPr sz="1800"/>
            </a:lvl4pPr>
            <a:lvl5pPr>
              <a:buClr>
                <a:srgbClr val="203864"/>
              </a:buCl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0BD9F5-F7E0-43B1-A642-BD221B209A0A}"/>
              </a:ext>
            </a:extLst>
          </p:cNvPr>
          <p:cNvSpPr txBox="1"/>
          <p:nvPr userDrawn="1"/>
        </p:nvSpPr>
        <p:spPr>
          <a:xfrm>
            <a:off x="838200" y="1274618"/>
            <a:ext cx="7938052" cy="55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295024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590" y="1565673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35635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589454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776186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3692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60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5805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78415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718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0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9728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11996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199530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82737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76323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794654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783111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7223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12458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901577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2086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50621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430627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159467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413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610049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4616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430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233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3979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81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590" y="1565673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05089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6825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63575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69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03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2932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643436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22170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80503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7396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52310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7402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6672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388178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158851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8482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898903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0282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885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8734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78517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58293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2042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9625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231314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677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590" y="1565673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097113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56047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753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8859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1045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79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40120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01300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AF7BC9FC-6E9C-4F5B-B4C1-C3AC80E22A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A6090836-762F-46F4-BE84-6BA182F9234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421431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1D98C55-CD22-4376-BC1F-F749031536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427D00E0-B74C-400E-9C53-BBE5931D11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99193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C57FA23-62A0-4F1A-92A4-B5C74EB3A5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3E0FF8-2C4D-435F-9BC1-8C2318B192EA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566015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35095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69697D92-863D-4A90-888D-F337BC61CA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274996E-40CA-4AF4-BFC4-52377786EF20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47828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239711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46DF3C4-04FD-4FA0-A641-F3AD945665F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703F7CD9-8DC5-4479-BCE9-704FD949DE4C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871997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7A5E826-1843-49F2-A00A-61712140D1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1" name="TextBox 6">
            <a:extLst>
              <a:ext uri="{FF2B5EF4-FFF2-40B4-BE49-F238E27FC236}">
                <a16:creationId xmlns:a16="http://schemas.microsoft.com/office/drawing/2014/main" id="{EFAD5238-3DE6-4761-8C37-801516934B36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876394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788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72250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96800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73347" y="3982452"/>
            <a:ext cx="9222297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96346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458828" y="76200"/>
            <a:ext cx="10222684" cy="8055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4043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3759" y="424543"/>
            <a:ext cx="4861082" cy="6036774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45665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979810" y="97972"/>
            <a:ext cx="10919437" cy="1436914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35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9429"/>
            <a:ext cx="6097957" cy="3428571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25378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642054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4241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774546" y="675083"/>
            <a:ext cx="8829664" cy="5649517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0568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2" name="Bilde 6">
            <a:extLst>
              <a:ext uri="{FF2B5EF4-FFF2-40B4-BE49-F238E27FC236}">
                <a16:creationId xmlns:a16="http://schemas.microsoft.com/office/drawing/2014/main" id="{5B033EFD-D044-491A-BE91-338723A874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D037690-DB38-4EC1-B1B8-74D7DEC679F9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723858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0170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1774646" y="2760899"/>
            <a:ext cx="4590508" cy="10647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418" y="243862"/>
            <a:ext cx="329394" cy="330711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74DFE41-D5DD-487F-B305-C5861C0FF115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75506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63"/>
            <a:ext cx="12192000" cy="6856474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221745"/>
            <a:ext cx="1117187" cy="1121655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6041497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8327720" y="5476875"/>
            <a:ext cx="2286223" cy="897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chemeClr val="bg1"/>
                </a:solidFill>
              </a:rPr>
              <a:t>Grev Wedels Plass 9, 0151 Oslo</a:t>
            </a:r>
            <a:endParaRPr lang="nb-NO" sz="9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2545481" y="5476875"/>
            <a:ext cx="2286223" cy="27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900" b="1">
                <a:solidFill>
                  <a:srgbClr val="1E2B3C"/>
                </a:solidFill>
              </a:rPr>
              <a:t>digdir.no</a:t>
            </a:r>
            <a:endParaRPr lang="nb-NO" sz="9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079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7590" y="1565673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58981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324432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41" y="188640"/>
            <a:ext cx="11250084" cy="642938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28"/>
          <p:cNvSpPr>
            <a:spLocks noGrp="1"/>
          </p:cNvSpPr>
          <p:nvPr>
            <p:ph type="sldNum" sz="quarter" idx="4"/>
          </p:nvPr>
        </p:nvSpPr>
        <p:spPr>
          <a:xfrm>
            <a:off x="11058007" y="6391072"/>
            <a:ext cx="1159934" cy="45720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>
              <a:defRPr/>
            </a:pPr>
            <a:fld id="{9A6B8722-0B72-404D-93E1-0926F435814F}" type="slidenum">
              <a:rPr lang="en-US" sz="900" b="1" smtClean="0">
                <a:solidFill>
                  <a:srgbClr val="FFFFFF"/>
                </a:solidFill>
              </a:rPr>
              <a:pPr algn="r">
                <a:defRPr/>
              </a:pPr>
              <a:t>‹#›</a:t>
            </a:fld>
            <a:endParaRPr lang="en-US" sz="9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7082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19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303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283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94876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"/>
            <a:ext cx="12192000" cy="6857330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09332" y="3241503"/>
            <a:ext cx="5152472" cy="114776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4227DE99-91ED-4892-8B7D-87BEE2B08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CF83858-6B79-49BC-90CA-89429A379CB8}"/>
              </a:ext>
            </a:extLst>
          </p:cNvPr>
          <p:cNvSpPr txBox="1"/>
          <p:nvPr userDrawn="1"/>
        </p:nvSpPr>
        <p:spPr>
          <a:xfrm>
            <a:off x="10724447" y="303434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830804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74.xml"/><Relationship Id="rId21" Type="http://schemas.openxmlformats.org/officeDocument/2006/relationships/slideLayout" Target="../slideLayouts/slideLayout92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theme" Target="../theme/theme4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91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tags" Target="../tags/tag9.xml"/><Relationship Id="rId3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theme" Target="../theme/theme5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oleObject" Target="../embeddings/oleObject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26" Type="http://schemas.openxmlformats.org/officeDocument/2006/relationships/tags" Target="../tags/tag11.xml"/><Relationship Id="rId3" Type="http://schemas.openxmlformats.org/officeDocument/2006/relationships/slideLayout" Target="../slideLayouts/slideLayout122.xml"/><Relationship Id="rId21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139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24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23" Type="http://schemas.openxmlformats.org/officeDocument/2006/relationships/slideLayout" Target="../slideLayouts/slideLayout14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Relationship Id="rId22" Type="http://schemas.openxmlformats.org/officeDocument/2006/relationships/slideLayout" Target="../slideLayouts/slideLayout141.xml"/><Relationship Id="rId27" Type="http://schemas.openxmlformats.org/officeDocument/2006/relationships/oleObject" Target="../embeddings/oleObject3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46.xml"/><Relationship Id="rId21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53.xml"/><Relationship Id="rId19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oleObject" Target="../embeddings/oleObject5.bin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slideLayout" Target="../slideLayouts/slideLayout200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90.xml"/><Relationship Id="rId7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99.xml"/><Relationship Id="rId17" Type="http://schemas.openxmlformats.org/officeDocument/2006/relationships/slideLayout" Target="../slideLayouts/slideLayout204.xml"/><Relationship Id="rId2" Type="http://schemas.openxmlformats.org/officeDocument/2006/relationships/slideLayout" Target="../slideLayouts/slideLayout189.xml"/><Relationship Id="rId16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5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2.xml"/><Relationship Id="rId10" Type="http://schemas.openxmlformats.org/officeDocument/2006/relationships/slideLayout" Target="../slideLayouts/slideLayout197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slideLayout" Target="../slideLayouts/slideLayout2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64644615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123A90-45ED-486E-8B92-3A4B32BCA6D3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3950254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3" r:id="rId22"/>
    <p:sldLayoutId id="2147483684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81219007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6" progId="TCLayout.ActiveDocument.1">
                  <p:embed/>
                </p:oleObj>
              </mc:Choice>
              <mc:Fallback>
                <p:oleObj name="think-cell Slide" r:id="rId27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84AEE-B53C-4826-A022-5E949B63D17A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3402743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190532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6" progId="TCLayout.ActiveDocument.1">
                  <p:embed/>
                </p:oleObj>
              </mc:Choice>
              <mc:Fallback>
                <p:oleObj name="think-cell Slide" r:id="rId27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84AEE-B53C-4826-A022-5E949B63D17A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2346793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31258328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6" progId="TCLayout.ActiveDocument.1">
                  <p:embed/>
                </p:oleObj>
              </mc:Choice>
              <mc:Fallback>
                <p:oleObj name="think-cell Slide" r:id="rId27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84AEE-B53C-4826-A022-5E949B63D17A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3710952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  <p:sldLayoutId id="2147483754" r:id="rId19"/>
    <p:sldLayoutId id="2147483755" r:id="rId20"/>
    <p:sldLayoutId id="2147483756" r:id="rId21"/>
    <p:sldLayoutId id="2147483757" r:id="rId22"/>
    <p:sldLayoutId id="2147483758" r:id="rId23"/>
    <p:sldLayoutId id="2147483759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9540440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6" progId="TCLayout.ActiveDocument.1">
                  <p:embed/>
                </p:oleObj>
              </mc:Choice>
              <mc:Fallback>
                <p:oleObj name="think-cell Slide" r:id="rId27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84AEE-B53C-4826-A022-5E949B63D17A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846551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734027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6" progId="TCLayout.ActiveDocument.1">
                  <p:embed/>
                </p:oleObj>
              </mc:Choice>
              <mc:Fallback>
                <p:oleObj name="think-cell Slide" r:id="rId27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9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84AEE-B53C-4826-A022-5E949B63D17A}"/>
              </a:ext>
            </a:extLst>
          </p:cNvPr>
          <p:cNvSpPr txBox="1">
            <a:spLocks/>
          </p:cNvSpPr>
          <p:nvPr userDrawn="1"/>
        </p:nvSpPr>
        <p:spPr>
          <a:xfrm>
            <a:off x="11407951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3126338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  <p:sldLayoutId id="2147483797" r:id="rId12"/>
    <p:sldLayoutId id="2147483798" r:id="rId13"/>
    <p:sldLayoutId id="2147483799" r:id="rId14"/>
    <p:sldLayoutId id="2147483800" r:id="rId15"/>
    <p:sldLayoutId id="2147483801" r:id="rId16"/>
    <p:sldLayoutId id="2147483802" r:id="rId17"/>
    <p:sldLayoutId id="2147483803" r:id="rId18"/>
    <p:sldLayoutId id="2147483804" r:id="rId19"/>
    <p:sldLayoutId id="2147483805" r:id="rId20"/>
    <p:sldLayoutId id="2147483806" r:id="rId21"/>
    <p:sldLayoutId id="2147483807" r:id="rId22"/>
    <p:sldLayoutId id="2147483808" r:id="rId23"/>
    <p:sldLayoutId id="2147483809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773348" y="1110717"/>
            <a:ext cx="9222298" cy="51937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773348" y="1840299"/>
            <a:ext cx="9222298" cy="43236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4615" y="351965"/>
            <a:ext cx="1549316" cy="524230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0363201" y="565549"/>
            <a:ext cx="7721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417166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625" indent="-428625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900" indent="-342900" algn="l" defTabSz="914314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8D3759-4C52-4E1B-BCD8-B31C402C02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646446158"/>
              </p:ext>
            </p:ext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6" progId="TCLayout.ActiveDocument.1">
                  <p:embed/>
                </p:oleObj>
              </mc:Choice>
              <mc:Fallback>
                <p:oleObj name="think-cell Slide" r:id="rId26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8D3759-4C52-4E1B-BCD8-B31C402C02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147" y="152865"/>
            <a:ext cx="1549316" cy="524230"/>
          </a:xfrm>
          <a:prstGeom prst="rect">
            <a:avLst/>
          </a:prstGeom>
        </p:spPr>
      </p:pic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FAF81723-04C9-444A-B75C-0B2BF1EB6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4" y="807820"/>
            <a:ext cx="10801213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123A90-45ED-486E-8B92-3A4B32BCA6D3}"/>
              </a:ext>
            </a:extLst>
          </p:cNvPr>
          <p:cNvSpPr txBox="1">
            <a:spLocks/>
          </p:cNvSpPr>
          <p:nvPr userDrawn="1"/>
        </p:nvSpPr>
        <p:spPr>
          <a:xfrm>
            <a:off x="11407952" y="6650661"/>
            <a:ext cx="232665" cy="12311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pt-PT"/>
            </a:defPPr>
            <a:lvl1pPr marL="0" algn="r" defTabSz="914400" rtl="0" eaLnBrk="1" latinLnBrk="0" hangingPunct="1">
              <a:defRPr lang="de-DE" sz="8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9A5160-6218-4E5A-B9E6-B93E3DAE377C}" type="slidenum">
              <a:rPr lang="en-US" sz="800" smtClean="0">
                <a:solidFill>
                  <a:srgbClr val="FFFFFF">
                    <a:lumMod val="65000"/>
                  </a:srgbClr>
                </a:solidFill>
                <a:latin typeface="Ubuntu"/>
              </a:rPr>
              <a:pPr/>
              <a:t>‹#›</a:t>
            </a:fld>
            <a:endParaRPr lang="en-US" sz="800">
              <a:solidFill>
                <a:srgbClr val="FFFFFF">
                  <a:lumMod val="65000"/>
                </a:srgbClr>
              </a:solidFill>
              <a:latin typeface="Ubuntu"/>
            </a:endParaRPr>
          </a:p>
        </p:txBody>
      </p:sp>
    </p:spTree>
    <p:extLst>
      <p:ext uri="{BB962C8B-B14F-4D97-AF65-F5344CB8AC3E}">
        <p14:creationId xmlns:p14="http://schemas.microsoft.com/office/powerpoint/2010/main" val="1478816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6" r:id="rId2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222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4960" indent="-404960" algn="l" defTabSz="914222" rtl="0" eaLnBrk="1" latinLnBrk="0" hangingPunct="1">
        <a:lnSpc>
          <a:spcPct val="100000"/>
        </a:lnSpc>
        <a:spcBef>
          <a:spcPts val="1875"/>
        </a:spcBef>
        <a:buClr>
          <a:schemeClr val="accent3"/>
        </a:buClr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+mn-ea"/>
          <a:cs typeface="+mn-cs"/>
        </a:defRPr>
      </a:lvl1pPr>
      <a:lvl2pPr marL="833542" indent="-428582" algn="l" defTabSz="914222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1103515" indent="-428582" algn="l" defTabSz="914222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87771" indent="-342866" algn="l" defTabSz="914222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557744" indent="-342866" algn="l" defTabSz="914222" rtl="0" eaLnBrk="1" latinLnBrk="0" hangingPunct="1">
        <a:lnSpc>
          <a:spcPct val="90000"/>
        </a:lnSpc>
        <a:spcBef>
          <a:spcPts val="1125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112" indent="-228555" algn="l" defTabSz="9142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23" indent="-228555" algn="l" defTabSz="9142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34" indent="-228555" algn="l" defTabSz="9142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46" indent="-228555" algn="l" defTabSz="9142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2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2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34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45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57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67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79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91" algn="l" defTabSz="9142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84">
          <p15:clr>
            <a:srgbClr val="F26B43"/>
          </p15:clr>
        </p15:guide>
        <p15:guide id="2" orient="horz" pos="5216">
          <p15:clr>
            <a:srgbClr val="F26B43"/>
          </p15:clr>
        </p15:guide>
        <p15:guide id="3" pos="9655">
          <p15:clr>
            <a:srgbClr val="F26B43"/>
          </p15:clr>
        </p15:guide>
        <p15:guide id="4" orient="horz" pos="131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068CECC0-3208-60EA-B944-A33C20451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339E833-73A7-7924-8122-7784BFB6BE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A75E99F-D7E9-6F44-A913-D52A45FF64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5C562C-2A6F-48CC-B14D-EB142DF42098}" type="datetimeFigureOut">
              <a:rPr lang="nb-NO" smtClean="0"/>
              <a:t>11.11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C8359C2-6BEB-4E2B-9B8B-84071CB073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A3A7FFE-F3D2-BC1A-183B-E271273B6E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1575F9-BDBE-4FC5-B5B6-7EB27381439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6582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7.svg"/><Relationship Id="rId2" Type="http://schemas.openxmlformats.org/officeDocument/2006/relationships/slideLayout" Target="../slideLayouts/slideLayout189.xml"/><Relationship Id="rId1" Type="http://schemas.openxmlformats.org/officeDocument/2006/relationships/tags" Target="../tags/tag15.xml"/><Relationship Id="rId6" Type="http://schemas.openxmlformats.org/officeDocument/2006/relationships/image" Target="../media/image26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91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01.xml"/><Relationship Id="rId1" Type="http://schemas.openxmlformats.org/officeDocument/2006/relationships/tags" Target="../tags/tag17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89.xml"/><Relationship Id="rId1" Type="http://schemas.openxmlformats.org/officeDocument/2006/relationships/tags" Target="../tags/tag18.xml"/><Relationship Id="rId6" Type="http://schemas.openxmlformats.org/officeDocument/2006/relationships/image" Target="../media/image29.png"/><Relationship Id="rId11" Type="http://schemas.openxmlformats.org/officeDocument/2006/relationships/image" Target="../media/image34.png"/><Relationship Id="rId5" Type="http://schemas.openxmlformats.org/officeDocument/2006/relationships/image" Target="../media/image28.emf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Sylinder 1">
            <a:extLst>
              <a:ext uri="{FF2B5EF4-FFF2-40B4-BE49-F238E27FC236}">
                <a16:creationId xmlns:a16="http://schemas.microsoft.com/office/drawing/2014/main" id="{EF181181-B4D6-F4F9-BDB1-9076DA237DDE}"/>
              </a:ext>
            </a:extLst>
          </p:cNvPr>
          <p:cNvSpPr txBox="1"/>
          <p:nvPr/>
        </p:nvSpPr>
        <p:spPr>
          <a:xfrm>
            <a:off x="5464880" y="3207049"/>
            <a:ext cx="5251888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beid med digital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enforskap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å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-området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1E2B3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FU </a:t>
            </a:r>
            <a:r>
              <a:rPr kumimoji="0" lang="nb-NO" sz="18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binar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lang="nb-NO" dirty="0">
                <a:solidFill>
                  <a:schemeClr val="bg1"/>
                </a:solidFill>
                <a:latin typeface="Arial" panose="020B0604020202020204"/>
              </a:rPr>
              <a:t>2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11.22 </a:t>
            </a:r>
            <a:endParaRPr lang="nb-NO" dirty="0">
              <a:solidFill>
                <a:schemeClr val="bg1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>
              <a:solidFill>
                <a:schemeClr val="bg1"/>
              </a:solidFill>
              <a:latin typeface="Arial" panose="020B0604020202020204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>
                <a:solidFill>
                  <a:schemeClr val="bg1"/>
                </a:solidFill>
                <a:latin typeface="Arial" panose="020B0604020202020204"/>
              </a:rPr>
              <a:t>				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985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D228C6C5-50EF-C190-87F7-B42867BCFC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8814" y="3429000"/>
            <a:ext cx="4224416" cy="2986097"/>
          </a:xfrm>
          <a:prstGeom prst="rect">
            <a:avLst/>
          </a:prstGeom>
        </p:spPr>
      </p:pic>
      <p:sp>
        <p:nvSpPr>
          <p:cNvPr id="4" name="Tittel 1">
            <a:extLst>
              <a:ext uri="{FF2B5EF4-FFF2-40B4-BE49-F238E27FC236}">
                <a16:creationId xmlns:a16="http://schemas.microsoft.com/office/drawing/2014/main" id="{0EE278BA-3CD6-B469-D6E1-4D59B8625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921" y="808072"/>
            <a:ext cx="10800159" cy="519323"/>
          </a:xfrm>
        </p:spPr>
        <p:txBody>
          <a:bodyPr/>
          <a:lstStyle/>
          <a:p>
            <a:r>
              <a:rPr lang="nb-NO" dirty="0">
                <a:solidFill>
                  <a:schemeClr val="tx1"/>
                </a:solidFill>
                <a:highlight>
                  <a:srgbClr val="C0C0C0"/>
                </a:highlight>
              </a:rPr>
              <a:t>Hvorfor utfordringer med </a:t>
            </a:r>
            <a:r>
              <a:rPr lang="nb-NO" dirty="0" err="1">
                <a:solidFill>
                  <a:schemeClr val="tx1"/>
                </a:solidFill>
                <a:highlight>
                  <a:srgbClr val="C0C0C0"/>
                </a:highlight>
              </a:rPr>
              <a:t>eID</a:t>
            </a:r>
            <a:r>
              <a:rPr lang="nb-NO" dirty="0">
                <a:solidFill>
                  <a:schemeClr val="tx1"/>
                </a:solidFill>
                <a:highlight>
                  <a:srgbClr val="C0C0C0"/>
                </a:highlight>
              </a:rPr>
              <a:t>-ordninger?</a:t>
            </a:r>
          </a:p>
        </p:txBody>
      </p:sp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B9CACEC6-A4A5-473B-5FCB-393A64D43BFA}"/>
              </a:ext>
            </a:extLst>
          </p:cNvPr>
          <p:cNvSpPr txBox="1">
            <a:spLocks/>
          </p:cNvSpPr>
          <p:nvPr/>
        </p:nvSpPr>
        <p:spPr>
          <a:xfrm>
            <a:off x="695921" y="1593236"/>
            <a:ext cx="6933237" cy="5099226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405000" indent="-405000" algn="l" defTabSz="914314" rtl="0" eaLnBrk="1" latinLnBrk="0" hangingPunct="1">
              <a:lnSpc>
                <a:spcPct val="100000"/>
              </a:lnSpc>
              <a:spcBef>
                <a:spcPts val="1875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33625" indent="-428625" algn="l" defTabSz="914314" rtl="0" eaLnBrk="1" latinLnBrk="0" hangingPunct="1">
              <a:lnSpc>
                <a:spcPct val="90000"/>
              </a:lnSpc>
              <a:spcBef>
                <a:spcPts val="1125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03625" indent="-428625" algn="l" defTabSz="914314" rtl="0" eaLnBrk="1" latinLnBrk="0" hangingPunct="1">
              <a:lnSpc>
                <a:spcPct val="90000"/>
              </a:lnSpc>
              <a:spcBef>
                <a:spcPts val="1125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87900" indent="-342900" algn="l" defTabSz="914314" rtl="0" eaLnBrk="1" latinLnBrk="0" hangingPunct="1">
              <a:lnSpc>
                <a:spcPct val="90000"/>
              </a:lnSpc>
              <a:spcBef>
                <a:spcPts val="1125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557900" indent="-342900" algn="l" defTabSz="914314" rtl="0" eaLnBrk="1" latinLnBrk="0" hangingPunct="1">
              <a:lnSpc>
                <a:spcPct val="90000"/>
              </a:lnSpc>
              <a:spcBef>
                <a:spcPts val="1125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363" indent="-228578" algn="l" defTabSz="91431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20" indent="-228578" algn="l" defTabSz="91431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77" indent="-228578" algn="l" defTabSz="91431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34" indent="-228578" algn="l" defTabSz="91431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4960" indent="-404960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ID-kontroll</a:t>
            </a:r>
          </a:p>
          <a:p>
            <a:pPr marL="404960" indent="-404960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Kort om fler-faktor-autentisering (MFA) </a:t>
            </a: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highlight>
                  <a:srgbClr val="0000FF"/>
                </a:highlight>
                <a:latin typeface="Arial" panose="020B0604020202020204"/>
              </a:rPr>
              <a:t>Noe du vet </a:t>
            </a: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highlight>
                  <a:srgbClr val="800080"/>
                </a:highlight>
                <a:latin typeface="Arial" panose="020B0604020202020204"/>
              </a:rPr>
              <a:t>Noe du har </a:t>
            </a: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Noe du er </a:t>
            </a:r>
          </a:p>
          <a:p>
            <a:pPr marL="404960" indent="-404960" defTabSz="914222">
              <a:buClr>
                <a:srgbClr val="C2132C"/>
              </a:buClr>
            </a:pP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eID</a:t>
            </a: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-ordninger på sikkerhetsnivå «høyt», se </a:t>
            </a: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Nkom</a:t>
            </a: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 sin publisert liste over selvdeklarerte </a:t>
            </a: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eID</a:t>
            </a: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-ordninger.</a:t>
            </a: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Commfides</a:t>
            </a:r>
            <a:endParaRPr lang="nb-NO" dirty="0">
              <a:solidFill>
                <a:prstClr val="white"/>
              </a:solidFill>
              <a:latin typeface="Arial" panose="020B0604020202020204"/>
            </a:endParaRP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Buypass</a:t>
            </a: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 </a:t>
            </a: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BankID</a:t>
            </a:r>
            <a:endParaRPr lang="nb-NO" dirty="0">
              <a:solidFill>
                <a:prstClr val="white"/>
              </a:solidFill>
              <a:latin typeface="Arial" panose="020B0604020202020204"/>
            </a:endParaRPr>
          </a:p>
          <a:p>
            <a:pPr marL="833542" lvl="1" indent="-428582" defTabSz="914222">
              <a:buClr>
                <a:srgbClr val="C2132C"/>
              </a:buClr>
            </a:pPr>
            <a:endParaRPr lang="nb-NO" dirty="0">
              <a:solidFill>
                <a:prstClr val="white"/>
              </a:solidFill>
              <a:latin typeface="Arial" panose="020B0604020202020204"/>
            </a:endParaRPr>
          </a:p>
          <a:p>
            <a:pPr marL="404960" indent="-404960" defTabSz="914222">
              <a:buClr>
                <a:srgbClr val="C2132C"/>
              </a:buClr>
            </a:pPr>
            <a:endParaRPr lang="nb-NO" dirty="0">
              <a:solidFill>
                <a:srgbClr val="1E2B3C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18519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63D689F2-424B-40A0-F547-3630242BC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2235564"/>
            <a:ext cx="10801214" cy="519373"/>
          </a:xfrm>
        </p:spPr>
        <p:txBody>
          <a:bodyPr/>
          <a:lstStyle/>
          <a:p>
            <a:r>
              <a:rPr lang="nb-NO" dirty="0"/>
              <a:t>Typetilfelle 2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BA173552-C614-117E-3790-64201275D8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3020805"/>
            <a:ext cx="10801214" cy="145494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i="1" dirty="0"/>
              <a:t>Personer som ikke kan bruke </a:t>
            </a:r>
            <a:r>
              <a:rPr lang="nb-NO" i="1" dirty="0" err="1"/>
              <a:t>eID</a:t>
            </a:r>
            <a:r>
              <a:rPr lang="nb-NO" i="1" dirty="0"/>
              <a:t> på egenhånd</a:t>
            </a:r>
          </a:p>
        </p:txBody>
      </p:sp>
    </p:spTree>
    <p:extLst>
      <p:ext uri="{BB962C8B-B14F-4D97-AF65-F5344CB8AC3E}">
        <p14:creationId xmlns:p14="http://schemas.microsoft.com/office/powerpoint/2010/main" val="4278471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D228C6C5-50EF-C190-87F7-B42867BCFC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48814" y="3429000"/>
            <a:ext cx="4224416" cy="2986097"/>
          </a:xfrm>
          <a:prstGeom prst="rect">
            <a:avLst/>
          </a:prstGeom>
        </p:spPr>
      </p:pic>
      <p:sp>
        <p:nvSpPr>
          <p:cNvPr id="4" name="Tittel 1">
            <a:extLst>
              <a:ext uri="{FF2B5EF4-FFF2-40B4-BE49-F238E27FC236}">
                <a16:creationId xmlns:a16="http://schemas.microsoft.com/office/drawing/2014/main" id="{0EE278BA-3CD6-B469-D6E1-4D59B86259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921" y="808072"/>
            <a:ext cx="10800159" cy="519323"/>
          </a:xfrm>
        </p:spPr>
        <p:txBody>
          <a:bodyPr/>
          <a:lstStyle/>
          <a:p>
            <a:r>
              <a:rPr lang="nb-NO" dirty="0"/>
              <a:t>Rettskilder (utvalgte)</a:t>
            </a:r>
            <a:endParaRPr lang="nb-NO" dirty="0">
              <a:highlight>
                <a:srgbClr val="1E2B3C"/>
              </a:highlight>
            </a:endParaRPr>
          </a:p>
        </p:txBody>
      </p:sp>
      <p:sp>
        <p:nvSpPr>
          <p:cNvPr id="5" name="Plassholder for innhold 2">
            <a:extLst>
              <a:ext uri="{FF2B5EF4-FFF2-40B4-BE49-F238E27FC236}">
                <a16:creationId xmlns:a16="http://schemas.microsoft.com/office/drawing/2014/main" id="{B9CACEC6-A4A5-473B-5FCB-393A64D43BFA}"/>
              </a:ext>
            </a:extLst>
          </p:cNvPr>
          <p:cNvSpPr txBox="1">
            <a:spLocks/>
          </p:cNvSpPr>
          <p:nvPr/>
        </p:nvSpPr>
        <p:spPr>
          <a:xfrm>
            <a:off x="695921" y="1593236"/>
            <a:ext cx="6933237" cy="5099226"/>
          </a:xfrm>
          <a:prstGeom prst="rect">
            <a:avLst/>
          </a:prstGeom>
        </p:spPr>
        <p:txBody>
          <a:bodyPr>
            <a:normAutofit fontScale="70000" lnSpcReduction="20000"/>
          </a:bodyPr>
          <a:lstStyle>
            <a:lvl1pPr marL="405000" indent="-405000" algn="l" defTabSz="914314" rtl="0" eaLnBrk="1" latinLnBrk="0" hangingPunct="1">
              <a:lnSpc>
                <a:spcPct val="100000"/>
              </a:lnSpc>
              <a:spcBef>
                <a:spcPts val="1875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33625" indent="-428625" algn="l" defTabSz="914314" rtl="0" eaLnBrk="1" latinLnBrk="0" hangingPunct="1">
              <a:lnSpc>
                <a:spcPct val="90000"/>
              </a:lnSpc>
              <a:spcBef>
                <a:spcPts val="1125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03625" indent="-428625" algn="l" defTabSz="914314" rtl="0" eaLnBrk="1" latinLnBrk="0" hangingPunct="1">
              <a:lnSpc>
                <a:spcPct val="90000"/>
              </a:lnSpc>
              <a:spcBef>
                <a:spcPts val="1125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87900" indent="-342900" algn="l" defTabSz="914314" rtl="0" eaLnBrk="1" latinLnBrk="0" hangingPunct="1">
              <a:lnSpc>
                <a:spcPct val="90000"/>
              </a:lnSpc>
              <a:spcBef>
                <a:spcPts val="1125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557900" indent="-342900" algn="l" defTabSz="914314" rtl="0" eaLnBrk="1" latinLnBrk="0" hangingPunct="1">
              <a:lnSpc>
                <a:spcPct val="90000"/>
              </a:lnSpc>
              <a:spcBef>
                <a:spcPts val="1125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363" indent="-228578" algn="l" defTabSz="91431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20" indent="-228578" algn="l" defTabSz="91431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77" indent="-228578" algn="l" defTabSz="91431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34" indent="-228578" algn="l" defTabSz="91431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4960" indent="-404960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Internasjonale</a:t>
            </a:r>
          </a:p>
          <a:p>
            <a:pPr marL="833585" lvl="1" indent="-404960" defTabSz="914222">
              <a:buClr>
                <a:srgbClr val="C2132C"/>
              </a:buClr>
            </a:pP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eIDAS</a:t>
            </a: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 (REGULATION (EU) No 910/2014)</a:t>
            </a:r>
          </a:p>
          <a:p>
            <a:pPr marL="833585" lvl="1" indent="-404960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COMMISSION IMPLEMENTING REGULATION (EU) 2015/1502 (Identifikasjonsnivåforskriften)</a:t>
            </a:r>
          </a:p>
          <a:p>
            <a:pPr marL="833585" lvl="1" indent="-404960" defTabSz="914222">
              <a:buClr>
                <a:srgbClr val="C2132C"/>
              </a:buClr>
            </a:pPr>
            <a:r>
              <a:rPr lang="en-US" dirty="0">
                <a:solidFill>
                  <a:prstClr val="white"/>
                </a:solidFill>
                <a:latin typeface="Arial" panose="020B0604020202020204"/>
              </a:rPr>
              <a:t>Guidance for the application of the levels of assurance which support the </a:t>
            </a:r>
            <a:r>
              <a:rPr lang="en-US" dirty="0" err="1">
                <a:solidFill>
                  <a:prstClr val="white"/>
                </a:solidFill>
                <a:latin typeface="Arial" panose="020B0604020202020204"/>
              </a:rPr>
              <a:t>eIDAS</a:t>
            </a:r>
            <a:r>
              <a:rPr lang="en-US" dirty="0">
                <a:solidFill>
                  <a:prstClr val="white"/>
                </a:solidFill>
                <a:latin typeface="Arial" panose="020B0604020202020204"/>
              </a:rPr>
              <a:t> Regulation</a:t>
            </a:r>
            <a:endParaRPr lang="nb-NO" dirty="0">
              <a:solidFill>
                <a:prstClr val="white"/>
              </a:solidFill>
              <a:latin typeface="Arial" panose="020B0604020202020204"/>
            </a:endParaRPr>
          </a:p>
          <a:p>
            <a:pPr marL="833585" lvl="1" indent="-404960" defTabSz="914222">
              <a:buClr>
                <a:srgbClr val="C2132C"/>
              </a:buClr>
            </a:pPr>
            <a:endParaRPr lang="nb-NO" dirty="0">
              <a:solidFill>
                <a:prstClr val="white"/>
              </a:solidFill>
              <a:latin typeface="Arial" panose="020B0604020202020204"/>
            </a:endParaRPr>
          </a:p>
          <a:p>
            <a:pPr marL="404960" indent="-404960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Norske</a:t>
            </a: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Lov om elektroniske tillitstjenester</a:t>
            </a: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Forskrift om selvdeklarasjon av ordninger for elektronisk identifikasjon (selvdeklarasjonsforskriften)</a:t>
            </a:r>
          </a:p>
          <a:p>
            <a:pPr marL="1103542" lvl="2" indent="-428582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Veiledning til selvdeklarasjon av </a:t>
            </a: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eID</a:t>
            </a: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-ordning</a:t>
            </a: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Forskrift om tillitstjenester for elektroniske transaksjoner</a:t>
            </a:r>
          </a:p>
          <a:p>
            <a:pPr marL="833542" lvl="1" indent="-428582" defTabSz="914222">
              <a:buClr>
                <a:srgbClr val="C2132C"/>
              </a:buClr>
            </a:pP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Forskrift om elektronisk kommunikasjon med og i forvaltningen (</a:t>
            </a: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eForvaltningsforskriften</a:t>
            </a: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)</a:t>
            </a:r>
          </a:p>
          <a:p>
            <a:pPr marL="833585" lvl="1" indent="-404960" defTabSz="914222">
              <a:buClr>
                <a:srgbClr val="C2132C"/>
              </a:buClr>
            </a:pP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Prop</a:t>
            </a: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. 71 LS (2017–2018)</a:t>
            </a:r>
          </a:p>
          <a:p>
            <a:pPr marL="833585" lvl="1" indent="-404960" defTabSz="914222">
              <a:buClr>
                <a:srgbClr val="C2132C"/>
              </a:buClr>
            </a:pPr>
            <a:r>
              <a:rPr lang="nb-NO" dirty="0" err="1">
                <a:solidFill>
                  <a:prstClr val="white"/>
                </a:solidFill>
                <a:latin typeface="Arial" panose="020B0604020202020204"/>
              </a:rPr>
              <a:t>Innst</a:t>
            </a:r>
            <a:r>
              <a:rPr lang="nb-NO" dirty="0">
                <a:solidFill>
                  <a:prstClr val="white"/>
                </a:solidFill>
                <a:latin typeface="Arial" panose="020B0604020202020204"/>
              </a:rPr>
              <a:t>. 332 S (2017-2018)</a:t>
            </a:r>
          </a:p>
          <a:p>
            <a:pPr marL="833542" lvl="1" indent="-428582" defTabSz="914222">
              <a:buClr>
                <a:srgbClr val="C2132C"/>
              </a:buClr>
            </a:pPr>
            <a:endParaRPr lang="nb-NO" dirty="0">
              <a:solidFill>
                <a:prstClr val="white"/>
              </a:solidFill>
              <a:latin typeface="Arial" panose="020B0604020202020204"/>
            </a:endParaRPr>
          </a:p>
          <a:p>
            <a:pPr marL="404960" indent="-404960" defTabSz="914222">
              <a:buClr>
                <a:srgbClr val="C2132C"/>
              </a:buClr>
            </a:pPr>
            <a:endParaRPr lang="nb-NO" dirty="0">
              <a:solidFill>
                <a:srgbClr val="1E2B3C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72567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900573C3-7F79-47DF-A9F6-6C2576B7CF50}"/>
              </a:ext>
            </a:extLst>
          </p:cNvPr>
          <p:cNvSpPr/>
          <p:nvPr/>
        </p:nvSpPr>
        <p:spPr>
          <a:xfrm>
            <a:off x="5861304" y="5148072"/>
            <a:ext cx="5056632" cy="123444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665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63D689F2-424B-40A0-F547-3630242BC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yrende dokumenter (utvalgte)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BA173552-C614-117E-3790-64201275D8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Utkast til ny </a:t>
            </a:r>
            <a:r>
              <a:rPr lang="nb-NO" dirty="0" err="1"/>
              <a:t>eID</a:t>
            </a:r>
            <a:r>
              <a:rPr lang="nb-NO" dirty="0"/>
              <a:t>-strategi</a:t>
            </a:r>
          </a:p>
          <a:p>
            <a:pPr lvl="1"/>
            <a:r>
              <a:rPr lang="nb-NO" dirty="0"/>
              <a:t>Mål 1: Alle relevante brukergrupper skal enkelt kunne skaffe seg en </a:t>
            </a:r>
            <a:r>
              <a:rPr lang="nb-NO" dirty="0" err="1"/>
              <a:t>eID</a:t>
            </a:r>
            <a:r>
              <a:rPr lang="nb-NO" dirty="0"/>
              <a:t> på det sikkerhetsnivået de har behov for.</a:t>
            </a:r>
          </a:p>
          <a:p>
            <a:pPr lvl="1"/>
            <a:r>
              <a:rPr lang="nb-NO" dirty="0"/>
              <a:t>Gruppen er identifisert </a:t>
            </a:r>
            <a:r>
              <a:rPr lang="nb-NO" dirty="0" err="1"/>
              <a:t>ifbm</a:t>
            </a:r>
            <a:r>
              <a:rPr lang="nb-NO" dirty="0"/>
              <a:t>. </a:t>
            </a:r>
            <a:r>
              <a:rPr lang="nb-NO" dirty="0" err="1"/>
              <a:t>eID</a:t>
            </a:r>
            <a:r>
              <a:rPr lang="nb-NO" dirty="0"/>
              <a:t>-strategien:</a:t>
            </a:r>
          </a:p>
          <a:p>
            <a:pPr lvl="2"/>
            <a:r>
              <a:rPr lang="nb-NO" dirty="0"/>
              <a:t>«Behovsanalysene avdekket at særlig (…) hjelpetrengende og ikke-digitale brukere (…) har utfordringer med å få utstedt og/eller bruke en </a:t>
            </a:r>
            <a:r>
              <a:rPr lang="nb-NO" dirty="0" err="1"/>
              <a:t>eID</a:t>
            </a:r>
            <a:r>
              <a:rPr lang="nb-NO" dirty="0"/>
              <a:t>».</a:t>
            </a:r>
          </a:p>
          <a:p>
            <a:r>
              <a:rPr lang="nb-NO" dirty="0"/>
              <a:t>Strategien «</a:t>
            </a:r>
            <a:r>
              <a:rPr lang="nb-NO" i="1" dirty="0"/>
              <a:t>Digital hele livet</a:t>
            </a:r>
            <a:r>
              <a:rPr lang="nb-NO" dirty="0"/>
              <a:t>»</a:t>
            </a:r>
          </a:p>
          <a:p>
            <a:r>
              <a:rPr lang="nb-NO" dirty="0"/>
              <a:t>Revisjon av </a:t>
            </a:r>
            <a:r>
              <a:rPr lang="nb-NO" dirty="0" err="1"/>
              <a:t>eIDAS</a:t>
            </a:r>
            <a:r>
              <a:rPr lang="nb-NO" dirty="0"/>
              <a:t>-forordningen: Staten må sørge for at identitetslommeboken er tilgjengelig for alle og gratis</a:t>
            </a:r>
          </a:p>
        </p:txBody>
      </p:sp>
    </p:spTree>
    <p:extLst>
      <p:ext uri="{BB962C8B-B14F-4D97-AF65-F5344CB8AC3E}">
        <p14:creationId xmlns:p14="http://schemas.microsoft.com/office/powerpoint/2010/main" val="42348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DD6856D-9F1F-4C90-8FAF-6416615C6D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DD6856D-9F1F-4C90-8FAF-6416615C6D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4AFB855-CBAB-4BF0-90D7-310597BB91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Dagens </a:t>
            </a:r>
            <a:r>
              <a:rPr lang="nb-NO" dirty="0" err="1"/>
              <a:t>eID</a:t>
            </a:r>
            <a:r>
              <a:rPr lang="nb-NO" dirty="0"/>
              <a:t>-strategi fra 2008 har fungert bra, men dekker ikke alle behov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1BE6692-2BCF-4D83-9DF9-70C57F58A595}"/>
              </a:ext>
            </a:extLst>
          </p:cNvPr>
          <p:cNvSpPr/>
          <p:nvPr/>
        </p:nvSpPr>
        <p:spPr>
          <a:xfrm>
            <a:off x="6804630" y="2477729"/>
            <a:ext cx="4719028" cy="372304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tIns="45720" rIns="91440" bIns="45720" rtlCol="0" anchor="ctr"/>
          <a:lstStyle/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beidet med den nye strategien er gjort i henhold til 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datet for ny nasjonal strategi for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en skal erstatte strategien for </a:t>
            </a:r>
            <a:r>
              <a:rPr kumimoji="0" lang="nb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ra 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8</a:t>
            </a:r>
            <a:endParaRPr kumimoji="0" lang="nb-NO" sz="1800" b="1" i="0" u="none" strike="noStrike" kern="1200" cap="none" spc="0" normalizeH="0" baseline="0" noProof="0" dirty="0">
              <a:ln>
                <a:noFill/>
              </a:ln>
              <a:solidFill>
                <a:srgbClr val="1E2B3C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en er en 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følging av digitaliseringsstrategien 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offentlig sektor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1E2B3C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257175" marR="0" lvl="0" indent="-257175" algn="l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ategiens primære målgruppe 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offentlig sektor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1E2B3C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1E2B3C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DEF5E8F-380B-4AF8-8F22-72CD180F9DD8}"/>
              </a:ext>
            </a:extLst>
          </p:cNvPr>
          <p:cNvSpPr/>
          <p:nvPr/>
        </p:nvSpPr>
        <p:spPr>
          <a:xfrm>
            <a:off x="695324" y="2477732"/>
            <a:ext cx="4691977" cy="3723044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500"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gens </a:t>
            </a:r>
            <a:r>
              <a:rPr kumimoji="0" lang="nb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strategi har fungert godt og gitt god utbredelse av </a:t>
            </a:r>
            <a:r>
              <a:rPr kumimoji="0" lang="nb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Norg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dsløsninger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r en viktig del av dagens strategi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hovsanalyser viser 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dekket behov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særlig for eldre, hjelpetrengende, unge og andre grupp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at Norge skal fortsette å lede an i utviklingen er det 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hov for en ny </a:t>
            </a:r>
            <a:r>
              <a:rPr kumimoji="0" lang="nb-NO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800" b="1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strategi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1E2B3C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FD6C3FC-D7D9-4A69-A5FB-09F22100AD5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14353" y="3765707"/>
            <a:ext cx="1363224" cy="137372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2A4F385-C5DC-42F4-BC82-D34632BC2D2D}"/>
              </a:ext>
            </a:extLst>
          </p:cNvPr>
          <p:cNvCxnSpPr/>
          <p:nvPr/>
        </p:nvCxnSpPr>
        <p:spPr>
          <a:xfrm>
            <a:off x="695325" y="2061722"/>
            <a:ext cx="471902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552F1FD2-0A8E-4C1F-8B87-0BABC6B3E1F0}"/>
              </a:ext>
            </a:extLst>
          </p:cNvPr>
          <p:cNvSpPr/>
          <p:nvPr/>
        </p:nvSpPr>
        <p:spPr>
          <a:xfrm>
            <a:off x="1058874" y="1939173"/>
            <a:ext cx="3964876" cy="24509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gens situasjon og utfordringer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5CC6C12-9AED-407A-96FB-7A6278584E85}"/>
              </a:ext>
            </a:extLst>
          </p:cNvPr>
          <p:cNvCxnSpPr/>
          <p:nvPr/>
        </p:nvCxnSpPr>
        <p:spPr>
          <a:xfrm>
            <a:off x="6744779" y="2061722"/>
            <a:ext cx="4719028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DB903D5-427C-4D50-9B15-FB63AD6AA468}"/>
              </a:ext>
            </a:extLst>
          </p:cNvPr>
          <p:cNvSpPr/>
          <p:nvPr/>
        </p:nvSpPr>
        <p:spPr>
          <a:xfrm>
            <a:off x="7348474" y="1939173"/>
            <a:ext cx="3604433" cy="245097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y nasjonal strategi skal adressere udekte behov</a:t>
            </a:r>
          </a:p>
        </p:txBody>
      </p:sp>
    </p:spTree>
    <p:extLst>
      <p:ext uri="{BB962C8B-B14F-4D97-AF65-F5344CB8AC3E}">
        <p14:creationId xmlns:p14="http://schemas.microsoft.com/office/powerpoint/2010/main" val="398488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01B481-60B7-4F6F-9F54-5893922480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01B481-60B7-4F6F-9F54-589392248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3781ED8-A8A4-44FC-BF64-1B3161ACF7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807816"/>
            <a:ext cx="10515946" cy="519373"/>
          </a:xfrm>
        </p:spPr>
        <p:txBody>
          <a:bodyPr vert="horz">
            <a:normAutofit fontScale="90000"/>
          </a:bodyPr>
          <a:lstStyle/>
          <a:p>
            <a:r>
              <a:rPr lang="nb-NO" dirty="0" err="1"/>
              <a:t>eID</a:t>
            </a:r>
            <a:r>
              <a:rPr lang="nb-NO" dirty="0"/>
              <a:t>-strategien har fem mål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C6353ED-64CB-4100-B7CF-45A5831E5DAB}"/>
              </a:ext>
            </a:extLst>
          </p:cNvPr>
          <p:cNvGrpSpPr/>
          <p:nvPr/>
        </p:nvGrpSpPr>
        <p:grpSpPr>
          <a:xfrm>
            <a:off x="695325" y="1843003"/>
            <a:ext cx="10793763" cy="732425"/>
            <a:chOff x="695325" y="2096822"/>
            <a:chExt cx="10793831" cy="732425"/>
          </a:xfrm>
        </p:grpSpPr>
        <p:sp>
          <p:nvSpPr>
            <p:cNvPr id="12" name="Round Same Side Corner Rectangle 7">
              <a:extLst>
                <a:ext uri="{FF2B5EF4-FFF2-40B4-BE49-F238E27FC236}">
                  <a16:creationId xmlns:a16="http://schemas.microsoft.com/office/drawing/2014/main" id="{E8D811BC-1DEA-4C74-A340-C353E4FBDC8F}"/>
                </a:ext>
              </a:extLst>
            </p:cNvPr>
            <p:cNvSpPr/>
            <p:nvPr/>
          </p:nvSpPr>
          <p:spPr bwMode="auto">
            <a:xfrm rot="16200000" flipH="1">
              <a:off x="724400" y="2067747"/>
              <a:ext cx="732425" cy="790575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BC06FFB-9BCB-4F7B-A887-33720894FAA7}"/>
                </a:ext>
              </a:extLst>
            </p:cNvPr>
            <p:cNvSpPr/>
            <p:nvPr/>
          </p:nvSpPr>
          <p:spPr>
            <a:xfrm>
              <a:off x="1641021" y="2109091"/>
              <a:ext cx="9848135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1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le relevante brukergrupper skal enkelt kunne skaffe seg en </a:t>
              </a:r>
              <a:r>
                <a:rPr kumimoji="0" lang="nb-NO" sz="2000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ID</a:t>
              </a:r>
              <a:r>
                <a:rPr kumimoji="0" lang="nb-NO" sz="2000" b="0" i="1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på det sikkerhetsnivået de har behov for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5257C88-A2AC-4942-B193-442C8F3E2BAF}"/>
              </a:ext>
            </a:extLst>
          </p:cNvPr>
          <p:cNvGrpSpPr/>
          <p:nvPr/>
        </p:nvGrpSpPr>
        <p:grpSpPr>
          <a:xfrm>
            <a:off x="695325" y="2749340"/>
            <a:ext cx="10793761" cy="732425"/>
            <a:chOff x="695327" y="2956001"/>
            <a:chExt cx="10793829" cy="732425"/>
          </a:xfrm>
        </p:grpSpPr>
        <p:sp>
          <p:nvSpPr>
            <p:cNvPr id="15" name="Round Same Side Corner Rectangle 7">
              <a:extLst>
                <a:ext uri="{FF2B5EF4-FFF2-40B4-BE49-F238E27FC236}">
                  <a16:creationId xmlns:a16="http://schemas.microsoft.com/office/drawing/2014/main" id="{41465DFC-3C7A-45C6-BD88-1A20FC74D727}"/>
                </a:ext>
              </a:extLst>
            </p:cNvPr>
            <p:cNvSpPr/>
            <p:nvPr/>
          </p:nvSpPr>
          <p:spPr bwMode="auto">
            <a:xfrm rot="16200000" flipH="1">
              <a:off x="724402" y="2926926"/>
              <a:ext cx="732425" cy="790575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D91D872-8FCE-4851-83E8-40C7766E243E}"/>
                </a:ext>
              </a:extLst>
            </p:cNvPr>
            <p:cNvSpPr/>
            <p:nvPr/>
          </p:nvSpPr>
          <p:spPr>
            <a:xfrm>
              <a:off x="1641021" y="2968271"/>
              <a:ext cx="9848135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for innlogging og bruk av offentlige digitale tjenester skal være sikker, kostnadseffektiv og helhetlig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04985D-FDA1-4586-B44E-28275B6257B9}"/>
              </a:ext>
            </a:extLst>
          </p:cNvPr>
          <p:cNvGrpSpPr/>
          <p:nvPr/>
        </p:nvGrpSpPr>
        <p:grpSpPr>
          <a:xfrm>
            <a:off x="695325" y="3655677"/>
            <a:ext cx="10793762" cy="732425"/>
            <a:chOff x="695325" y="3885989"/>
            <a:chExt cx="10793830" cy="732425"/>
          </a:xfrm>
        </p:grpSpPr>
        <p:sp>
          <p:nvSpPr>
            <p:cNvPr id="18" name="Round Same Side Corner Rectangle 7">
              <a:extLst>
                <a:ext uri="{FF2B5EF4-FFF2-40B4-BE49-F238E27FC236}">
                  <a16:creationId xmlns:a16="http://schemas.microsoft.com/office/drawing/2014/main" id="{E23D07BC-850C-4757-95ED-2A072911C86C}"/>
                </a:ext>
              </a:extLst>
            </p:cNvPr>
            <p:cNvSpPr/>
            <p:nvPr/>
          </p:nvSpPr>
          <p:spPr bwMode="auto">
            <a:xfrm rot="16200000" flipH="1">
              <a:off x="724400" y="3856914"/>
              <a:ext cx="732425" cy="790575"/>
            </a:xfrm>
            <a:prstGeom prst="ellipse">
              <a:avLst/>
            </a:prstGeom>
            <a:solidFill>
              <a:schemeClr val="accent1">
                <a:lumMod val="50000"/>
                <a:lumOff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8B2DA48-0C1F-4675-8AE9-B15F7AF802C9}"/>
                </a:ext>
              </a:extLst>
            </p:cNvPr>
            <p:cNvSpPr/>
            <p:nvPr/>
          </p:nvSpPr>
          <p:spPr>
            <a:xfrm>
              <a:off x="1641020" y="4052146"/>
              <a:ext cx="9848135" cy="40011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0" u="none" strike="noStrike" kern="1200" cap="none" spc="0" normalizeH="0" baseline="0" noProof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ammer for sikre og effektive løsninger for eID til offentlig ansatte skal være angitt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51DA97-CB66-47C6-9603-905D642BD6AE}"/>
              </a:ext>
            </a:extLst>
          </p:cNvPr>
          <p:cNvGrpSpPr/>
          <p:nvPr/>
        </p:nvGrpSpPr>
        <p:grpSpPr>
          <a:xfrm>
            <a:off x="695325" y="4562014"/>
            <a:ext cx="10793762" cy="732425"/>
            <a:chOff x="695326" y="4674359"/>
            <a:chExt cx="10793830" cy="732425"/>
          </a:xfrm>
        </p:grpSpPr>
        <p:sp>
          <p:nvSpPr>
            <p:cNvPr id="21" name="Round Same Side Corner Rectangle 7">
              <a:extLst>
                <a:ext uri="{FF2B5EF4-FFF2-40B4-BE49-F238E27FC236}">
                  <a16:creationId xmlns:a16="http://schemas.microsoft.com/office/drawing/2014/main" id="{E9EBDBD4-5B56-4268-9CCF-723111726843}"/>
                </a:ext>
              </a:extLst>
            </p:cNvPr>
            <p:cNvSpPr/>
            <p:nvPr/>
          </p:nvSpPr>
          <p:spPr bwMode="auto">
            <a:xfrm rot="16200000" flipH="1">
              <a:off x="724401" y="4645284"/>
              <a:ext cx="732425" cy="790575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9A16D5F-7294-469B-AE33-992DB8CA0E58}"/>
                </a:ext>
              </a:extLst>
            </p:cNvPr>
            <p:cNvSpPr/>
            <p:nvPr/>
          </p:nvSpPr>
          <p:spPr>
            <a:xfrm>
              <a:off x="1641021" y="4840516"/>
              <a:ext cx="9848135" cy="40011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0" u="none" strike="noStrike" kern="1200" cap="none" spc="0" normalizeH="0" baseline="0" noProof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er skal være tilpasset markeds- og teknologiutviklingen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C16B975-540A-4ADC-B6A9-8DCE0CB7F1C4}"/>
              </a:ext>
            </a:extLst>
          </p:cNvPr>
          <p:cNvGrpSpPr/>
          <p:nvPr/>
        </p:nvGrpSpPr>
        <p:grpSpPr>
          <a:xfrm>
            <a:off x="702913" y="5468350"/>
            <a:ext cx="10793762" cy="732425"/>
            <a:chOff x="702845" y="5533537"/>
            <a:chExt cx="10793830" cy="732425"/>
          </a:xfrm>
        </p:grpSpPr>
        <p:sp>
          <p:nvSpPr>
            <p:cNvPr id="17" name="Round Same Side Corner Rectangle 7">
              <a:extLst>
                <a:ext uri="{FF2B5EF4-FFF2-40B4-BE49-F238E27FC236}">
                  <a16:creationId xmlns:a16="http://schemas.microsoft.com/office/drawing/2014/main" id="{D6247787-1585-46C7-A15A-115EA4472220}"/>
                </a:ext>
              </a:extLst>
            </p:cNvPr>
            <p:cNvSpPr/>
            <p:nvPr/>
          </p:nvSpPr>
          <p:spPr bwMode="auto">
            <a:xfrm rot="16200000" flipH="1">
              <a:off x="731920" y="5504462"/>
              <a:ext cx="732425" cy="790575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AC3B6B2-0D29-4476-AD49-81F3439FFE97}"/>
                </a:ext>
              </a:extLst>
            </p:cNvPr>
            <p:cNvSpPr/>
            <p:nvPr/>
          </p:nvSpPr>
          <p:spPr>
            <a:xfrm>
              <a:off x="1648540" y="5545806"/>
              <a:ext cx="9848135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0" u="none" strike="noStrike" kern="1200" cap="none" spc="0" normalizeH="0" baseline="0" noProof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amordningen av eID-utviklingen mellom sektorene og forvaltningsnivåer skal være kostnadseffektiv og go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040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1DB2A59-EC15-4ED2-8B02-A891E270162E}"/>
              </a:ext>
            </a:extLst>
          </p:cNvPr>
          <p:cNvCxnSpPr>
            <a:cxnSpLocks/>
          </p:cNvCxnSpPr>
          <p:nvPr/>
        </p:nvCxnSpPr>
        <p:spPr>
          <a:xfrm>
            <a:off x="695326" y="1570991"/>
            <a:ext cx="3718055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31F57DCE-209A-4D17-A5FA-AF5C472F5D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31F57DCE-209A-4D17-A5FA-AF5C472F5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EA8DB35-FB08-43B2-887D-2FFF6DCE43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>
                <a:solidFill>
                  <a:srgbClr val="000000"/>
                </a:solidFill>
              </a:rPr>
              <a:t>5 mål og 20 tiltak presenteres i ny nasjonal strategi for </a:t>
            </a:r>
            <a:r>
              <a:rPr lang="nb-NO" dirty="0" err="1">
                <a:solidFill>
                  <a:srgbClr val="000000"/>
                </a:solidFill>
              </a:rPr>
              <a:t>eID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7ABAAC2-1636-4396-BE87-795D913042D8}"/>
              </a:ext>
            </a:extLst>
          </p:cNvPr>
          <p:cNvSpPr/>
          <p:nvPr/>
        </p:nvSpPr>
        <p:spPr>
          <a:xfrm>
            <a:off x="695325" y="1841753"/>
            <a:ext cx="3538745" cy="804479"/>
          </a:xfrm>
          <a:prstGeom prst="roundRect">
            <a:avLst>
              <a:gd name="adj" fmla="val 19699"/>
            </a:avLst>
          </a:prstGeom>
          <a:solidFill>
            <a:schemeClr val="tx2">
              <a:lumMod val="25000"/>
              <a:lumOff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) Alle relevante brukergrupper skal enkelt kunne skaffe seg en eID på det sikkerhetsnivået de har behov for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B1ABB96-BA79-424E-A24D-BD1750299476}"/>
              </a:ext>
            </a:extLst>
          </p:cNvPr>
          <p:cNvSpPr/>
          <p:nvPr/>
        </p:nvSpPr>
        <p:spPr>
          <a:xfrm>
            <a:off x="695325" y="2833233"/>
            <a:ext cx="3538745" cy="804479"/>
          </a:xfrm>
          <a:prstGeom prst="roundRect">
            <a:avLst>
              <a:gd name="adj" fmla="val 19699"/>
            </a:avLst>
          </a:prstGeom>
          <a:solidFill>
            <a:schemeClr val="accent4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) Løsning for innlogging og bruk av offentlige digitale tjenester skal være sikker, kostnadseffektiv og helhetlig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E4FEE27D-4A4E-4A20-8935-0CC8F104A1ED}"/>
              </a:ext>
            </a:extLst>
          </p:cNvPr>
          <p:cNvSpPr/>
          <p:nvPr/>
        </p:nvSpPr>
        <p:spPr>
          <a:xfrm>
            <a:off x="695325" y="4816193"/>
            <a:ext cx="3538745" cy="804479"/>
          </a:xfrm>
          <a:prstGeom prst="roundRect">
            <a:avLst>
              <a:gd name="adj" fmla="val 13636"/>
            </a:avLst>
          </a:prstGeom>
          <a:solidFill>
            <a:schemeClr val="accent3">
              <a:lumMod val="40000"/>
              <a:lumOff val="60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) Løsninger skal være tilpasset markeds- og teknologiutviklingen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C8C196E-9BF7-427E-A30F-64052BC504FA}"/>
              </a:ext>
            </a:extLst>
          </p:cNvPr>
          <p:cNvSpPr/>
          <p:nvPr/>
        </p:nvSpPr>
        <p:spPr>
          <a:xfrm>
            <a:off x="695325" y="5807675"/>
            <a:ext cx="3538745" cy="804479"/>
          </a:xfrm>
          <a:prstGeom prst="roundRect">
            <a:avLst>
              <a:gd name="adj" fmla="val 12121"/>
            </a:avLst>
          </a:prstGeom>
          <a:solidFill>
            <a:srgbClr val="7391B9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) Samordningen av eID-utviklingen mellom sektorene og forvaltningsnivåer skal være kostnadseffektiv og god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1E2B3C">
                  <a:lumMod val="85000"/>
                  <a:lumOff val="1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2C4A601A-41F6-4EA8-9119-ECD3AFF60D24}"/>
              </a:ext>
            </a:extLst>
          </p:cNvPr>
          <p:cNvSpPr/>
          <p:nvPr/>
        </p:nvSpPr>
        <p:spPr>
          <a:xfrm>
            <a:off x="4612467" y="1841753"/>
            <a:ext cx="6886578" cy="1448702"/>
          </a:xfrm>
          <a:prstGeom prst="roundRect">
            <a:avLst>
              <a:gd name="adj" fmla="val 6008"/>
            </a:avLst>
          </a:prstGeom>
          <a:solidFill>
            <a:schemeClr val="tx2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reutvikle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ID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å bli mer robust og brukervennlig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vurdere å realisere en offentlig utstedt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 på sikkerhetsnivå høyt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sikre utbredelse av en offentlig utstedt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 på sikkerhetsnivå høyt blant brukergruppene som ikke har en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 på sikkerhetsnivå høyt i dag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t alle brukergrupper skal ha kunnskap om hvordan de får og bruker en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rede beste praksis og behov for sikker kommunikasjon mellom ulike sektorer og unge brukere, primært under 12 år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vurdere sikre og brukervennlige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fullmaktsløsninger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 som muliggjør tilgang til offentlige tjenester på vegne av en annen bruker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rede brukervennlig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il brukere uten fødsels- eller d-nummer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E8E30BC0-17F8-487F-BE9E-475707522E80}"/>
              </a:ext>
            </a:extLst>
          </p:cNvPr>
          <p:cNvSpPr/>
          <p:nvPr/>
        </p:nvSpPr>
        <p:spPr>
          <a:xfrm>
            <a:off x="4612468" y="3426631"/>
            <a:ext cx="6886578" cy="1152386"/>
          </a:xfrm>
          <a:prstGeom prst="roundRect">
            <a:avLst>
              <a:gd name="adj" fmla="val 7092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gge til rette for at «unike» identiteter kan realiseres i Folkeregisteret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ørge for at staten på en sikker måte kan koble en identitet fra utlandet mot en norsk identitet som brukeren allerede har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gge til rette for at offentlig sektor evner å gjennomføre ID-kontroll digitalt og gjennom personlig oppmøte som oppfyller kravene til sikkerhetsnivå høyt for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rede grunnlaget for et markedsbasert samarbeid om kjerneinfrastruktur for utstedelse av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il brukere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reutvikle en sikker, robust og skalerbar </a:t>
            </a:r>
            <a:r>
              <a:rPr kumimoji="0" lang="nb-NO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infrastruktur 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Digitaliseringsdirektoratet</a:t>
            </a: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5F56E7D5-1B64-4629-81BD-E75A42887E76}"/>
              </a:ext>
            </a:extLst>
          </p:cNvPr>
          <p:cNvSpPr/>
          <p:nvPr/>
        </p:nvSpPr>
        <p:spPr>
          <a:xfrm>
            <a:off x="4612468" y="4715193"/>
            <a:ext cx="6886578" cy="554211"/>
          </a:xfrm>
          <a:prstGeom prst="roundRect">
            <a:avLst>
              <a:gd name="adj" fmla="val 14467"/>
            </a:avLst>
          </a:prstGeom>
          <a:solidFill>
            <a:srgbClr val="AFAB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emme beste praksis for å løse behov tilknyttet pålogging og tilgang til tjenester på jobb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urdere å etablere en teknisk løsning for pålogging i jobbsammenheng i offentlig sektor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reutvikle og implementere retningslinjer, veiledning og råd tilknyttet bruk av eID i jobbsammenheng</a:t>
            </a: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EA50B0AC-B4EF-41F4-B172-34DDC5BD22A8}"/>
              </a:ext>
            </a:extLst>
          </p:cNvPr>
          <p:cNvSpPr/>
          <p:nvPr/>
        </p:nvSpPr>
        <p:spPr>
          <a:xfrm>
            <a:off x="4612468" y="5405581"/>
            <a:ext cx="6886578" cy="378533"/>
          </a:xfrm>
          <a:prstGeom prst="roundRect">
            <a:avLst>
              <a:gd name="adj" fmla="val 26330"/>
            </a:avLst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ørge for tilstrekkelig kapasitet og kompetanse hos fagdirektorat og tilsynsmyndighet som følge av omfattende utvikling av teknologi, regelverk og marked på eID-området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A36BA4A-A6C9-4CC9-A4D5-24A933EFCF37}"/>
              </a:ext>
            </a:extLst>
          </p:cNvPr>
          <p:cNvCxnSpPr>
            <a:cxnSpLocks/>
          </p:cNvCxnSpPr>
          <p:nvPr/>
        </p:nvCxnSpPr>
        <p:spPr>
          <a:xfrm>
            <a:off x="695325" y="1573463"/>
            <a:ext cx="3718056" cy="0"/>
          </a:xfrm>
          <a:prstGeom prst="line">
            <a:avLst/>
          </a:prstGeom>
          <a:ln w="2857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73E5DCBA-CE68-4A34-931F-F12A08256058}"/>
              </a:ext>
            </a:extLst>
          </p:cNvPr>
          <p:cNvCxnSpPr>
            <a:cxnSpLocks/>
          </p:cNvCxnSpPr>
          <p:nvPr/>
        </p:nvCxnSpPr>
        <p:spPr>
          <a:xfrm>
            <a:off x="4612468" y="1573463"/>
            <a:ext cx="6886578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CA139349-CBDF-465E-B9CB-8AD1B2F5C7B1}"/>
              </a:ext>
            </a:extLst>
          </p:cNvPr>
          <p:cNvSpPr/>
          <p:nvPr/>
        </p:nvSpPr>
        <p:spPr>
          <a:xfrm>
            <a:off x="2214545" y="1374994"/>
            <a:ext cx="679615" cy="3578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l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0A51D133-A0FC-4FA4-877D-C505AFCB6B3C}"/>
              </a:ext>
            </a:extLst>
          </p:cNvPr>
          <p:cNvSpPr/>
          <p:nvPr/>
        </p:nvSpPr>
        <p:spPr>
          <a:xfrm>
            <a:off x="7067952" y="1374994"/>
            <a:ext cx="1970735" cy="3578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jeringen vil: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A9B24B0A-37FE-4989-9CD7-4D08C8AE1AC5}"/>
              </a:ext>
            </a:extLst>
          </p:cNvPr>
          <p:cNvSpPr/>
          <p:nvPr/>
        </p:nvSpPr>
        <p:spPr>
          <a:xfrm>
            <a:off x="695325" y="3824713"/>
            <a:ext cx="3538745" cy="804479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) Rammer for sikre og effektive løsninger for eID til offentlig ansatte skal være angitt</a:t>
            </a:r>
          </a:p>
        </p:txBody>
      </p:sp>
      <p:sp>
        <p:nvSpPr>
          <p:cNvPr id="62" name="Isosceles Triangle 61">
            <a:extLst>
              <a:ext uri="{FF2B5EF4-FFF2-40B4-BE49-F238E27FC236}">
                <a16:creationId xmlns:a16="http://schemas.microsoft.com/office/drawing/2014/main" id="{2920611F-7C04-4AAE-B54C-9B8F979BE065}"/>
              </a:ext>
            </a:extLst>
          </p:cNvPr>
          <p:cNvSpPr/>
          <p:nvPr/>
        </p:nvSpPr>
        <p:spPr>
          <a:xfrm rot="5400000">
            <a:off x="2901678" y="4137187"/>
            <a:ext cx="3043181" cy="179533"/>
          </a:xfrm>
          <a:prstGeom prst="triangle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06367777-BF02-4D09-960B-4BC6B5A27A93}"/>
              </a:ext>
            </a:extLst>
          </p:cNvPr>
          <p:cNvSpPr/>
          <p:nvPr/>
        </p:nvSpPr>
        <p:spPr>
          <a:xfrm>
            <a:off x="4612468" y="5920291"/>
            <a:ext cx="6886578" cy="691863"/>
          </a:xfrm>
          <a:prstGeom prst="roundRect">
            <a:avLst>
              <a:gd name="adj" fmla="val 8980"/>
            </a:avLst>
          </a:prstGeom>
          <a:solidFill>
            <a:srgbClr val="7391B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reutvikle og klargjøre sammenhengen mellom sektorspesifikke løsninger og nasjonale fellesløsninger for eID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reutvikle Feide som en løsning for brukere og ansatte i kunnskapssektoren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gge til rette for å øke bruken av eID som tilbys i ID-porten, spesielt i kommunene</a:t>
            </a: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0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rede forutsetninger for å gjøre fellesløsninger for eID tilgjengelig for deler av frivillig sektor </a:t>
            </a:r>
          </a:p>
        </p:txBody>
      </p:sp>
    </p:spTree>
    <p:extLst>
      <p:ext uri="{BB962C8B-B14F-4D97-AF65-F5344CB8AC3E}">
        <p14:creationId xmlns:p14="http://schemas.microsoft.com/office/powerpoint/2010/main" val="3018049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E3385B40-BCAF-40CE-A681-B497FD5008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87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E3385B40-BCAF-40CE-A681-B497FD5008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87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DCB69DCC-97A1-4A64-B5E2-D8E3FCE8A017}"/>
              </a:ext>
            </a:extLst>
          </p:cNvPr>
          <p:cNvSpPr/>
          <p:nvPr/>
        </p:nvSpPr>
        <p:spPr>
          <a:xfrm>
            <a:off x="8128560" y="486469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ukere opplever stadig nye utfordringer knyttet til manglende eID, i takt med at flere og flere tjenester blir digitale.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B97A0902-AAB4-45B3-8BC3-CBEDC7003778}"/>
              </a:ext>
            </a:extLst>
          </p:cNvPr>
          <p:cNvSpPr/>
          <p:nvPr/>
        </p:nvSpPr>
        <p:spPr>
          <a:xfrm>
            <a:off x="7824367" y="4576410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BC28B73-1D0D-416F-BF2B-378409AAA292}"/>
              </a:ext>
            </a:extLst>
          </p:cNvPr>
          <p:cNvSpPr/>
          <p:nvPr/>
        </p:nvSpPr>
        <p:spPr>
          <a:xfrm>
            <a:off x="777195" y="274233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135000" rIns="54000" bIns="81000" rtlCol="0" anchor="ctr"/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-løsningene og digitale offentlige tjenester oppleves som særdeles lite tilgjengelige og ikke tilrettelagt flere av brukernes situasjon og behov. 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CB4378DC-7F7B-4C0D-ABBC-710E5A0C4FCA}"/>
              </a:ext>
            </a:extLst>
          </p:cNvPr>
          <p:cNvSpPr/>
          <p:nvPr/>
        </p:nvSpPr>
        <p:spPr>
          <a:xfrm>
            <a:off x="4452878" y="274233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ere brukere har begrenset forståelse for eID, de ulike typene eID, samt bruks- og mulighetsområdene som eksisterer.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79369D96-405E-469A-8AFE-217060810D19}"/>
              </a:ext>
            </a:extLst>
          </p:cNvPr>
          <p:cNvSpPr/>
          <p:nvPr/>
        </p:nvSpPr>
        <p:spPr>
          <a:xfrm>
            <a:off x="777195" y="486469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flere eldre og personer med funksjonsnedsettelse er det store utfordringer knyttet til å få hjelp av andre til bruk av </a:t>
            </a:r>
            <a:r>
              <a:rPr kumimoji="0" lang="nb-NO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35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g flere pårørende og verger opplever å ikke ha tilgang til digitale tjenester.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3A14979-D513-481F-BEC8-CC4AC19A8482}"/>
              </a:ext>
            </a:extLst>
          </p:cNvPr>
          <p:cNvSpPr/>
          <p:nvPr/>
        </p:nvSpPr>
        <p:spPr>
          <a:xfrm>
            <a:off x="8128560" y="274233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ere brukere savner å kunne møte opp fysisk for å få veiledning og opplæring fra en kyndig person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058AD24-E562-4E51-B518-72342B2405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Flere utfordringer gjelder på tvers av brukergruppen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EDEA4458-8AD4-4C4B-992A-BF113AAE5E56}"/>
              </a:ext>
            </a:extLst>
          </p:cNvPr>
          <p:cNvSpPr/>
          <p:nvPr/>
        </p:nvSpPr>
        <p:spPr>
          <a:xfrm>
            <a:off x="4452878" y="4864699"/>
            <a:ext cx="3286246" cy="1619231"/>
          </a:xfrm>
          <a:prstGeom prst="roundRect">
            <a:avLst>
              <a:gd name="adj" fmla="val 1682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135000" rIns="54000" bIns="81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35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stedere av </a:t>
            </a:r>
            <a:r>
              <a:rPr kumimoji="0" lang="nb-NO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35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venter at brukerne kan lese og forstå hva det å få utstedt en </a:t>
            </a:r>
            <a:r>
              <a:rPr kumimoji="0" lang="nb-NO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35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nnebærer. Dette kan være utfordrende for flere brukere og ender ofte med at de blir nektet </a:t>
            </a:r>
            <a:r>
              <a:rPr kumimoji="0" lang="nb-NO" sz="1350" b="0" i="0" u="none" strike="noStrike" kern="1200" cap="none" spc="0" normalizeH="0" baseline="0" noProof="0" dirty="0" err="1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D</a:t>
            </a:r>
            <a:r>
              <a:rPr kumimoji="0" lang="nb-NO" sz="1350" b="0" i="0" u="none" strike="noStrike" kern="1200" cap="none" spc="0" normalizeH="0" baseline="0" noProof="0" dirty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 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303763E-B0E1-418D-B6B3-E4DFC69583EF}"/>
              </a:ext>
            </a:extLst>
          </p:cNvPr>
          <p:cNvSpPr/>
          <p:nvPr/>
        </p:nvSpPr>
        <p:spPr>
          <a:xfrm>
            <a:off x="4153940" y="2452194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BC3B6B41-0E16-4798-ABBA-63EEAC6BD54C}"/>
              </a:ext>
            </a:extLst>
          </p:cNvPr>
          <p:cNvSpPr/>
          <p:nvPr/>
        </p:nvSpPr>
        <p:spPr>
          <a:xfrm>
            <a:off x="7824367" y="2452194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91C39D7-F9BA-4AB5-956F-5C1012FAC18D}"/>
              </a:ext>
            </a:extLst>
          </p:cNvPr>
          <p:cNvSpPr/>
          <p:nvPr/>
        </p:nvSpPr>
        <p:spPr>
          <a:xfrm>
            <a:off x="484577" y="4576410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9802440-DDD8-4E05-BDEF-EC5A188AD0CE}"/>
              </a:ext>
            </a:extLst>
          </p:cNvPr>
          <p:cNvSpPr/>
          <p:nvPr/>
        </p:nvSpPr>
        <p:spPr>
          <a:xfrm>
            <a:off x="4153940" y="4576410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5BB77C30-B060-49F5-A8C0-4F4A391869B1}"/>
              </a:ext>
            </a:extLst>
          </p:cNvPr>
          <p:cNvSpPr/>
          <p:nvPr/>
        </p:nvSpPr>
        <p:spPr>
          <a:xfrm>
            <a:off x="484577" y="2452194"/>
            <a:ext cx="611729" cy="57510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CD22B780-349E-8D4D-BDC0-03AC1F37881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902" y="2537206"/>
            <a:ext cx="405080" cy="405080"/>
          </a:xfrm>
          <a:prstGeom prst="rect">
            <a:avLst/>
          </a:prstGeom>
        </p:spPr>
      </p:pic>
      <p:pic>
        <p:nvPicPr>
          <p:cNvPr id="27" name="Bilde 26">
            <a:extLst>
              <a:ext uri="{FF2B5EF4-FFF2-40B4-BE49-F238E27FC236}">
                <a16:creationId xmlns:a16="http://schemas.microsoft.com/office/drawing/2014/main" id="{187DBEC9-576F-BD4E-B82A-F138AFE451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061" y="2515003"/>
            <a:ext cx="449487" cy="449487"/>
          </a:xfrm>
          <a:prstGeom prst="rect">
            <a:avLst/>
          </a:prstGeom>
        </p:spPr>
      </p:pic>
      <p:pic>
        <p:nvPicPr>
          <p:cNvPr id="33" name="Bilde 32">
            <a:extLst>
              <a:ext uri="{FF2B5EF4-FFF2-40B4-BE49-F238E27FC236}">
                <a16:creationId xmlns:a16="http://schemas.microsoft.com/office/drawing/2014/main" id="{5434D7F1-6C1B-1A45-94E9-6D096E40436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4133" y="2503648"/>
            <a:ext cx="472198" cy="472198"/>
          </a:xfrm>
          <a:prstGeom prst="rect">
            <a:avLst/>
          </a:prstGeom>
        </p:spPr>
      </p:pic>
      <p:pic>
        <p:nvPicPr>
          <p:cNvPr id="36" name="Bilde 35">
            <a:extLst>
              <a:ext uri="{FF2B5EF4-FFF2-40B4-BE49-F238E27FC236}">
                <a16:creationId xmlns:a16="http://schemas.microsoft.com/office/drawing/2014/main" id="{15224C2E-C3E2-7442-8ECF-2BAE31A0A72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9753" y="4639721"/>
            <a:ext cx="400956" cy="400956"/>
          </a:xfrm>
          <a:prstGeom prst="rect">
            <a:avLst/>
          </a:prstGeom>
        </p:spPr>
      </p:pic>
      <p:pic>
        <p:nvPicPr>
          <p:cNvPr id="39" name="Bilde 38">
            <a:extLst>
              <a:ext uri="{FF2B5EF4-FFF2-40B4-BE49-F238E27FC236}">
                <a16:creationId xmlns:a16="http://schemas.microsoft.com/office/drawing/2014/main" id="{FE590D83-625C-A44B-B848-C82DB796485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051" y="4676000"/>
            <a:ext cx="388782" cy="375928"/>
          </a:xfrm>
          <a:prstGeom prst="rect">
            <a:avLst/>
          </a:prstGeom>
        </p:spPr>
      </p:pic>
      <p:pic>
        <p:nvPicPr>
          <p:cNvPr id="41" name="Bilde 40">
            <a:extLst>
              <a:ext uri="{FF2B5EF4-FFF2-40B4-BE49-F238E27FC236}">
                <a16:creationId xmlns:a16="http://schemas.microsoft.com/office/drawing/2014/main" id="{8510D5E2-CE5F-1246-9017-6D7E18AF070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283" y="4675441"/>
            <a:ext cx="377045" cy="377045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A548274-BC79-4604-9D28-64814B1300E0}"/>
              </a:ext>
            </a:extLst>
          </p:cNvPr>
          <p:cNvSpPr/>
          <p:nvPr/>
        </p:nvSpPr>
        <p:spPr>
          <a:xfrm>
            <a:off x="630885" y="1656378"/>
            <a:ext cx="10930229" cy="554022"/>
          </a:xfrm>
          <a:prstGeom prst="round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8624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5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ukere i gruppene </a:t>
            </a:r>
            <a:r>
              <a:rPr kumimoji="0" lang="nb-NO" sz="1500" b="0" i="1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ge 12–16 år</a:t>
            </a:r>
            <a:r>
              <a:rPr kumimoji="0" lang="nb-NO" sz="15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</a:t>
            </a:r>
            <a:r>
              <a:rPr kumimoji="0" lang="nb-NO" sz="1500" b="0" i="1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utenlandske borgere og asylsøkere</a:t>
            </a:r>
            <a:r>
              <a:rPr kumimoji="0" lang="nb-NO" sz="15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g </a:t>
            </a:r>
            <a:r>
              <a:rPr kumimoji="0" lang="nb-NO" sz="1500" b="0" i="1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ldre, hjelpetrengende og ikke-digitale</a:t>
            </a:r>
            <a:r>
              <a:rPr kumimoji="0" lang="nb-NO" sz="1500" b="0" i="0" u="none" strike="noStrike" kern="1200" cap="none" spc="0" normalizeH="0" baseline="0" noProof="0">
                <a:ln>
                  <a:noFill/>
                </a:ln>
                <a:solidFill>
                  <a:srgbClr val="1E2B3C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pplever flere av de samme utfordringene</a:t>
            </a:r>
          </a:p>
        </p:txBody>
      </p:sp>
    </p:spTree>
    <p:extLst>
      <p:ext uri="{BB962C8B-B14F-4D97-AF65-F5344CB8AC3E}">
        <p14:creationId xmlns:p14="http://schemas.microsoft.com/office/powerpoint/2010/main" val="932205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63D689F2-424B-40A0-F547-3630242BC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igitalt utenforskap og </a:t>
            </a:r>
            <a:r>
              <a:rPr lang="nb-NO" dirty="0" err="1"/>
              <a:t>eID</a:t>
            </a:r>
            <a:endParaRPr lang="nb-NO" dirty="0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BA173552-C614-117E-3790-64201275D89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Overordnet om utfordringsbildet:</a:t>
            </a:r>
          </a:p>
          <a:p>
            <a:pPr lvl="1"/>
            <a:r>
              <a:rPr lang="nb-NO" dirty="0"/>
              <a:t>Omstendigheter som hindrer brukere i å få utstedt og/eller bruke </a:t>
            </a:r>
            <a:r>
              <a:rPr lang="nb-NO" dirty="0" err="1"/>
              <a:t>eID</a:t>
            </a:r>
            <a:r>
              <a:rPr lang="nb-NO" dirty="0"/>
              <a:t> på lik linje med andre. </a:t>
            </a:r>
          </a:p>
          <a:p>
            <a:pPr lvl="1"/>
            <a:r>
              <a:rPr lang="nb-NO" dirty="0"/>
              <a:t>Omstendigheter som har sammenheng med nedsatt funksjonsevne kan være: Rettslige hindre (oppfyller ikke brukervilkår til </a:t>
            </a:r>
            <a:r>
              <a:rPr lang="nb-NO" dirty="0" err="1"/>
              <a:t>eID</a:t>
            </a:r>
            <a:r>
              <a:rPr lang="nb-NO" dirty="0"/>
              <a:t>-utsteder), språkbarrierer, fysisk oppmøte, m.fl.</a:t>
            </a:r>
          </a:p>
          <a:p>
            <a:r>
              <a:rPr lang="nb-NO" dirty="0"/>
              <a:t>Pågående kartleggingsarbeid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9467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78FDC86-295A-9F00-1294-0FAE9B6D6C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646" y="3096179"/>
            <a:ext cx="9259114" cy="1064708"/>
          </a:xfrm>
        </p:spPr>
        <p:txBody>
          <a:bodyPr/>
          <a:lstStyle/>
          <a:p>
            <a:r>
              <a:rPr lang="nb-NO" dirty="0"/>
              <a:t>Inkluderer</a:t>
            </a:r>
            <a:br>
              <a:rPr lang="nb-NO" dirty="0"/>
            </a:br>
            <a:br>
              <a:rPr lang="nb-NO" dirty="0"/>
            </a:br>
            <a:r>
              <a:rPr lang="nb-NO" sz="2400" dirty="0"/>
              <a:t>- </a:t>
            </a:r>
            <a:r>
              <a:rPr lang="en-US" sz="2400" dirty="0"/>
              <a:t>Alle former for </a:t>
            </a:r>
            <a:r>
              <a:rPr lang="en-US" sz="2400" dirty="0" err="1"/>
              <a:t>funksjonsnedsettelse</a:t>
            </a:r>
            <a:r>
              <a:rPr lang="en-US" sz="2400" dirty="0"/>
              <a:t> </a:t>
            </a:r>
            <a:r>
              <a:rPr lang="en-US" sz="2400" dirty="0" err="1"/>
              <a:t>som</a:t>
            </a:r>
            <a:r>
              <a:rPr lang="en-US" sz="2400" dirty="0"/>
              <a:t> </a:t>
            </a:r>
            <a:r>
              <a:rPr lang="en-US" sz="2400" dirty="0" err="1"/>
              <a:t>kan</a:t>
            </a:r>
            <a:r>
              <a:rPr lang="en-US" sz="2400" dirty="0"/>
              <a:t> </a:t>
            </a:r>
            <a:r>
              <a:rPr lang="en-US" sz="2400" dirty="0" err="1"/>
              <a:t>påvirke</a:t>
            </a:r>
            <a:r>
              <a:rPr lang="en-US" sz="2400" dirty="0"/>
              <a:t> bruk </a:t>
            </a:r>
            <a:r>
              <a:rPr lang="en-US" sz="2400" dirty="0" err="1"/>
              <a:t>eller</a:t>
            </a:r>
            <a:r>
              <a:rPr lang="en-US" sz="2400" dirty="0"/>
              <a:t> </a:t>
            </a:r>
            <a:r>
              <a:rPr lang="en-US" sz="2400" dirty="0" err="1"/>
              <a:t>utstedelse</a:t>
            </a:r>
            <a:r>
              <a:rPr lang="en-US" sz="2400" dirty="0"/>
              <a:t> av </a:t>
            </a:r>
            <a:r>
              <a:rPr lang="en-US" sz="2400" dirty="0" err="1"/>
              <a:t>eID</a:t>
            </a:r>
            <a:r>
              <a:rPr lang="en-US" sz="2400" dirty="0"/>
              <a:t>. Kan deles </a:t>
            </a:r>
            <a:r>
              <a:rPr lang="en-US" sz="2400" dirty="0" err="1"/>
              <a:t>videre</a:t>
            </a:r>
            <a:r>
              <a:rPr lang="en-US" sz="2400" dirty="0"/>
              <a:t> inn </a:t>
            </a:r>
            <a:r>
              <a:rPr lang="en-US" sz="2400" dirty="0" err="1"/>
              <a:t>i</a:t>
            </a:r>
            <a:r>
              <a:rPr lang="en-US" sz="2400" dirty="0"/>
              <a:t>;</a:t>
            </a:r>
            <a:br>
              <a:rPr lang="en-US" sz="2400" dirty="0"/>
            </a:br>
            <a:br>
              <a:rPr lang="en-US" sz="2400" dirty="0"/>
            </a:br>
            <a:r>
              <a:rPr lang="en-US" sz="2400" dirty="0"/>
              <a:t>- </a:t>
            </a:r>
            <a:r>
              <a:rPr lang="en-US" sz="2400" dirty="0" err="1"/>
              <a:t>Personer</a:t>
            </a:r>
            <a:r>
              <a:rPr lang="en-US" sz="2400" dirty="0"/>
              <a:t> </a:t>
            </a:r>
            <a:r>
              <a:rPr lang="en-US" sz="2400" dirty="0" err="1"/>
              <a:t>som</a:t>
            </a:r>
            <a:r>
              <a:rPr lang="en-US" sz="2400" dirty="0"/>
              <a:t> </a:t>
            </a:r>
            <a:r>
              <a:rPr lang="en-US" sz="2400" dirty="0" err="1"/>
              <a:t>ikke</a:t>
            </a:r>
            <a:r>
              <a:rPr lang="en-US" sz="2400" dirty="0"/>
              <a:t> </a:t>
            </a:r>
            <a:r>
              <a:rPr lang="en-US" sz="2400" dirty="0" err="1"/>
              <a:t>kan</a:t>
            </a:r>
            <a:r>
              <a:rPr lang="en-US" sz="2400" dirty="0"/>
              <a:t> </a:t>
            </a:r>
            <a:r>
              <a:rPr lang="en-US" sz="2400" dirty="0" err="1"/>
              <a:t>bruke</a:t>
            </a:r>
            <a:r>
              <a:rPr lang="en-US" sz="2400" dirty="0"/>
              <a:t> </a:t>
            </a:r>
            <a:r>
              <a:rPr lang="en-US" sz="2400" dirty="0" err="1"/>
              <a:t>eID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egenhånd</a:t>
            </a:r>
            <a:br>
              <a:rPr lang="en-US" sz="2400" dirty="0"/>
            </a:br>
            <a:br>
              <a:rPr lang="en-US" sz="2400" dirty="0"/>
            </a:br>
            <a:r>
              <a:rPr lang="en-US" sz="2400" dirty="0"/>
              <a:t>- </a:t>
            </a:r>
            <a:r>
              <a:rPr lang="en-US" sz="2400" dirty="0" err="1"/>
              <a:t>Personer</a:t>
            </a:r>
            <a:r>
              <a:rPr lang="en-US" sz="2400" dirty="0"/>
              <a:t> </a:t>
            </a:r>
            <a:r>
              <a:rPr lang="en-US" sz="2400" dirty="0" err="1"/>
              <a:t>som</a:t>
            </a:r>
            <a:r>
              <a:rPr lang="en-US" sz="2400" dirty="0"/>
              <a:t> </a:t>
            </a:r>
            <a:r>
              <a:rPr lang="en-US" sz="2400" dirty="0" err="1"/>
              <a:t>kan</a:t>
            </a:r>
            <a:r>
              <a:rPr lang="en-US" sz="2400" dirty="0"/>
              <a:t> </a:t>
            </a:r>
            <a:r>
              <a:rPr lang="en-US" sz="2400" dirty="0" err="1"/>
              <a:t>bruke</a:t>
            </a:r>
            <a:r>
              <a:rPr lang="en-US" sz="2400" dirty="0"/>
              <a:t> </a:t>
            </a:r>
            <a:r>
              <a:rPr lang="en-US" sz="2400" dirty="0" err="1"/>
              <a:t>eID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egenhånd</a:t>
            </a:r>
            <a:r>
              <a:rPr lang="en-US" sz="2400" dirty="0"/>
              <a:t>, men er </a:t>
            </a:r>
            <a:r>
              <a:rPr lang="en-US" sz="2400" dirty="0" err="1"/>
              <a:t>i</a:t>
            </a:r>
            <a:r>
              <a:rPr lang="en-US" sz="2400" dirty="0"/>
              <a:t> </a:t>
            </a:r>
            <a:r>
              <a:rPr lang="en-US" sz="2400" dirty="0" err="1"/>
              <a:t>behov</a:t>
            </a:r>
            <a:r>
              <a:rPr lang="en-US" sz="2400" dirty="0"/>
              <a:t> for </a:t>
            </a:r>
            <a:r>
              <a:rPr lang="en-US" sz="2400" dirty="0" err="1"/>
              <a:t>veiledning</a:t>
            </a:r>
            <a:r>
              <a:rPr lang="en-US" sz="2400" dirty="0"/>
              <a:t> </a:t>
            </a:r>
            <a:r>
              <a:rPr lang="en-US" sz="2400" dirty="0" err="1"/>
              <a:t>og</a:t>
            </a:r>
            <a:r>
              <a:rPr lang="en-US" sz="2400" dirty="0"/>
              <a:t> </a:t>
            </a:r>
            <a:r>
              <a:rPr lang="en-US" sz="2400" dirty="0" err="1"/>
              <a:t>assistanse</a:t>
            </a:r>
            <a:r>
              <a:rPr lang="en-US" sz="2400" dirty="0"/>
              <a:t> </a:t>
            </a:r>
            <a:r>
              <a:rPr lang="en-US" sz="2400" dirty="0" err="1"/>
              <a:t>i</a:t>
            </a:r>
            <a:r>
              <a:rPr lang="en-US" sz="2400" dirty="0"/>
              <a:t> </a:t>
            </a:r>
            <a:r>
              <a:rPr lang="en-US" sz="2400" dirty="0" err="1"/>
              <a:t>møte</a:t>
            </a:r>
            <a:r>
              <a:rPr lang="en-US" sz="2400" dirty="0"/>
              <a:t> med </a:t>
            </a:r>
            <a:r>
              <a:rPr lang="en-US" sz="2400" dirty="0" err="1"/>
              <a:t>tjenestene</a:t>
            </a:r>
            <a:r>
              <a:rPr lang="en-US" sz="2400" dirty="0"/>
              <a:t>.</a:t>
            </a: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en-US" sz="2400" dirty="0"/>
            </a:br>
            <a:br>
              <a:rPr lang="nb-NO" sz="2400" dirty="0"/>
            </a:br>
            <a:br>
              <a:rPr lang="nb-NO" sz="2400" dirty="0"/>
            </a:br>
            <a:br>
              <a:rPr lang="nb-NO" sz="2400" dirty="0"/>
            </a:br>
            <a:br>
              <a:rPr lang="nb-NO" sz="2400" dirty="0"/>
            </a:br>
            <a:br>
              <a:rPr lang="nb-NO" sz="2400" dirty="0"/>
            </a:br>
            <a:endParaRPr lang="nb-NO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B8B983E9-6094-CC84-90D2-1978A70FBD09}"/>
              </a:ext>
            </a:extLst>
          </p:cNvPr>
          <p:cNvSpPr txBox="1"/>
          <p:nvPr/>
        </p:nvSpPr>
        <p:spPr>
          <a:xfrm>
            <a:off x="1584960" y="660400"/>
            <a:ext cx="32207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Personer med ulike funksjonsnedsettelser</a:t>
            </a:r>
          </a:p>
          <a:p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3317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4">
            <a:extLst>
              <a:ext uri="{FF2B5EF4-FFF2-40B4-BE49-F238E27FC236}">
                <a16:creationId xmlns:a16="http://schemas.microsoft.com/office/drawing/2014/main" id="{63D689F2-424B-40A0-F547-3630242BC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93" y="2235564"/>
            <a:ext cx="10801214" cy="519373"/>
          </a:xfrm>
        </p:spPr>
        <p:txBody>
          <a:bodyPr/>
          <a:lstStyle/>
          <a:p>
            <a:r>
              <a:rPr lang="nb-NO" dirty="0"/>
              <a:t>Typetilfelle 1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BA173552-C614-117E-3790-64201275D8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3020805"/>
            <a:ext cx="10801214" cy="145494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i="1" dirty="0"/>
              <a:t>Personer som (til dels) kan bruke </a:t>
            </a:r>
            <a:r>
              <a:rPr lang="nb-NO" i="1" dirty="0" err="1"/>
              <a:t>eID</a:t>
            </a:r>
            <a:r>
              <a:rPr lang="nb-NO" i="1" dirty="0"/>
              <a:t> på egenhånd, men er i behov for veiledning og assistanse i møte med tjenestene.</a:t>
            </a:r>
          </a:p>
        </p:txBody>
      </p:sp>
    </p:spTree>
    <p:extLst>
      <p:ext uri="{BB962C8B-B14F-4D97-AF65-F5344CB8AC3E}">
        <p14:creationId xmlns:p14="http://schemas.microsoft.com/office/powerpoint/2010/main" val="2322393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3.xml><?xml version="1.0" encoding="utf-8"?>
<a:theme xmlns:a="http://schemas.openxmlformats.org/drawingml/2006/main" name="9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4.xml><?xml version="1.0" encoding="utf-8"?>
<a:theme xmlns:a="http://schemas.openxmlformats.org/drawingml/2006/main" name="10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5.xml><?xml version="1.0" encoding="utf-8"?>
<a:theme xmlns:a="http://schemas.openxmlformats.org/drawingml/2006/main" name="11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6.xml><?xml version="1.0" encoding="utf-8"?>
<a:theme xmlns:a="http://schemas.openxmlformats.org/drawingml/2006/main" name="12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7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8.xml><?xml version="1.0" encoding="utf-8"?>
<a:theme xmlns:a="http://schemas.openxmlformats.org/drawingml/2006/main" name="3_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dir_ppt_mal" id="{09402E70-7836-4A76-98C1-D621FB816469}" vid="{F513D9EA-257E-4DB9-BFBF-9A5262E320A6}"/>
    </a:ext>
  </a:extLst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48</TotalTime>
  <Words>1185</Words>
  <Application>Microsoft Office PowerPoint</Application>
  <PresentationFormat>Widescreen</PresentationFormat>
  <Paragraphs>121</Paragraphs>
  <Slides>13</Slides>
  <Notes>12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9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3</vt:i4>
      </vt:variant>
    </vt:vector>
  </HeadingPairs>
  <TitlesOfParts>
    <vt:vector size="27" baseType="lpstr">
      <vt:lpstr>Arial</vt:lpstr>
      <vt:lpstr>Calibri</vt:lpstr>
      <vt:lpstr>Calibri Light</vt:lpstr>
      <vt:lpstr>Ubuntu</vt:lpstr>
      <vt:lpstr>2_Digdir PPTmal</vt:lpstr>
      <vt:lpstr>8_Digdir PPTmal</vt:lpstr>
      <vt:lpstr>9_Digdir PPTmal</vt:lpstr>
      <vt:lpstr>10_Digdir PPTmal</vt:lpstr>
      <vt:lpstr>11_Digdir PPTmal</vt:lpstr>
      <vt:lpstr>12_Digdir PPTmal</vt:lpstr>
      <vt:lpstr>Digdir PPTmal</vt:lpstr>
      <vt:lpstr>3_Digdir PPTmal</vt:lpstr>
      <vt:lpstr>Office-tema</vt:lpstr>
      <vt:lpstr>think-cell Slide</vt:lpstr>
      <vt:lpstr>PowerPoint-presentasjon</vt:lpstr>
      <vt:lpstr>Styrende dokumenter (utvalgte)</vt:lpstr>
      <vt:lpstr>Dagens eID-strategi fra 2008 har fungert bra, men dekker ikke alle behov</vt:lpstr>
      <vt:lpstr>eID-strategien har fem mål</vt:lpstr>
      <vt:lpstr>5 mål og 20 tiltak presenteres i ny nasjonal strategi for eID</vt:lpstr>
      <vt:lpstr>Flere utfordringer gjelder på tvers av brukergruppene</vt:lpstr>
      <vt:lpstr>Digitalt utenforskap og eID</vt:lpstr>
      <vt:lpstr>Inkluderer  - Alle former for funksjonsnedsettelse som kan påvirke bruk eller utstedelse av eID. Kan deles videre inn i;  - Personer som ikke kan bruke eID på egenhånd  - Personer som kan bruke eID på egenhånd, men er i behov for veiledning og assistanse i møte med tjenestene.         </vt:lpstr>
      <vt:lpstr>Typetilfelle 1</vt:lpstr>
      <vt:lpstr>Hvorfor utfordringer med eID-ordninger?</vt:lpstr>
      <vt:lpstr>Typetilfelle 2</vt:lpstr>
      <vt:lpstr>Rettskilder (utvalgte)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Ugelstad, Runar</dc:creator>
  <cp:lastModifiedBy>Ugelstad, Runar</cp:lastModifiedBy>
  <cp:revision>10</cp:revision>
  <dcterms:created xsi:type="dcterms:W3CDTF">2022-01-28T12:01:14Z</dcterms:created>
  <dcterms:modified xsi:type="dcterms:W3CDTF">2022-11-11T12:46:14Z</dcterms:modified>
</cp:coreProperties>
</file>